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theme/theme4.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7.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0" r:id="rId4"/>
    <p:sldMasterId id="2147483652" r:id="rId5"/>
    <p:sldMasterId id="2147483686" r:id="rId6"/>
    <p:sldMasterId id="2147483682" r:id="rId7"/>
    <p:sldMasterId id="2147483787" r:id="rId8"/>
    <p:sldMasterId id="2147483802" r:id="rId9"/>
    <p:sldMasterId id="2147483821" r:id="rId10"/>
    <p:sldMasterId id="2147483859" r:id="rId11"/>
  </p:sldMasterIdLst>
  <p:notesMasterIdLst>
    <p:notesMasterId r:id="rId68"/>
  </p:notesMasterIdLst>
  <p:sldIdLst>
    <p:sldId id="11200" r:id="rId12"/>
    <p:sldId id="2147483627" r:id="rId13"/>
    <p:sldId id="11113" r:id="rId14"/>
    <p:sldId id="11237" r:id="rId15"/>
    <p:sldId id="105012" r:id="rId16"/>
    <p:sldId id="105299" r:id="rId17"/>
    <p:sldId id="105300" r:id="rId18"/>
    <p:sldId id="11137" r:id="rId19"/>
    <p:sldId id="105301" r:id="rId20"/>
    <p:sldId id="105302" r:id="rId21"/>
    <p:sldId id="2147483624" r:id="rId22"/>
    <p:sldId id="105305" r:id="rId23"/>
    <p:sldId id="10730" r:id="rId24"/>
    <p:sldId id="105332" r:id="rId25"/>
    <p:sldId id="105297" r:id="rId26"/>
    <p:sldId id="11192" r:id="rId27"/>
    <p:sldId id="105340" r:id="rId28"/>
    <p:sldId id="105341" r:id="rId29"/>
    <p:sldId id="105352" r:id="rId30"/>
    <p:sldId id="105353" r:id="rId31"/>
    <p:sldId id="105347" r:id="rId32"/>
    <p:sldId id="105102" r:id="rId33"/>
    <p:sldId id="105306" r:id="rId34"/>
    <p:sldId id="105269" r:id="rId35"/>
    <p:sldId id="105344" r:id="rId36"/>
    <p:sldId id="105342" r:id="rId37"/>
    <p:sldId id="105343" r:id="rId38"/>
    <p:sldId id="105348" r:id="rId39"/>
    <p:sldId id="105349" r:id="rId40"/>
    <p:sldId id="105268" r:id="rId41"/>
    <p:sldId id="105286" r:id="rId42"/>
    <p:sldId id="105350" r:id="rId43"/>
    <p:sldId id="105351" r:id="rId44"/>
    <p:sldId id="105336" r:id="rId45"/>
    <p:sldId id="105337" r:id="rId46"/>
    <p:sldId id="105338" r:id="rId47"/>
    <p:sldId id="105339" r:id="rId48"/>
    <p:sldId id="105234" r:id="rId49"/>
    <p:sldId id="105264" r:id="rId50"/>
    <p:sldId id="2147483625" r:id="rId51"/>
    <p:sldId id="2147483626" r:id="rId52"/>
    <p:sldId id="105355" r:id="rId53"/>
    <p:sldId id="2147483623" r:id="rId54"/>
    <p:sldId id="105239" r:id="rId55"/>
    <p:sldId id="105225" r:id="rId56"/>
    <p:sldId id="105226" r:id="rId57"/>
    <p:sldId id="105272" r:id="rId58"/>
    <p:sldId id="105354" r:id="rId59"/>
    <p:sldId id="105030" r:id="rId60"/>
    <p:sldId id="105333" r:id="rId61"/>
    <p:sldId id="105346" r:id="rId62"/>
    <p:sldId id="105241" r:id="rId63"/>
    <p:sldId id="11099" r:id="rId64"/>
    <p:sldId id="105242" r:id="rId65"/>
    <p:sldId id="105125" r:id="rId66"/>
    <p:sldId id="104977" r:id="rId67"/>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FD" id="{1A2CF5E3-E995-43E8-95BB-EF01195D95C7}">
          <p14:sldIdLst>
            <p14:sldId id="11200"/>
            <p14:sldId id="2147483627"/>
            <p14:sldId id="11113"/>
            <p14:sldId id="11237"/>
            <p14:sldId id="105012"/>
            <p14:sldId id="105299"/>
            <p14:sldId id="105300"/>
            <p14:sldId id="11137"/>
            <p14:sldId id="105301"/>
            <p14:sldId id="105302"/>
            <p14:sldId id="2147483624"/>
            <p14:sldId id="105305"/>
            <p14:sldId id="10730"/>
            <p14:sldId id="105332"/>
            <p14:sldId id="105297"/>
            <p14:sldId id="11192"/>
          </p14:sldIdLst>
        </p14:section>
        <p14:section name="Business Technologies" id="{A5D40BE5-18AE-4649-A049-41356554B3C7}">
          <p14:sldIdLst>
            <p14:sldId id="105340"/>
            <p14:sldId id="105341"/>
          </p14:sldIdLst>
        </p14:section>
        <p14:section name="CEEA" id="{0A8CE617-CCF3-4CF3-9199-DE8DCA053FA2}">
          <p14:sldIdLst>
            <p14:sldId id="105352"/>
            <p14:sldId id="105353"/>
          </p14:sldIdLst>
        </p14:section>
        <p14:section name="Global Communitaciton Marketing" id="{38DD9E9F-B5CA-44D6-8CBB-66AF5AE67FAF}">
          <p14:sldIdLst>
            <p14:sldId id="105347"/>
            <p14:sldId id="105102"/>
          </p14:sldIdLst>
        </p14:section>
        <p14:section name="DEN Real Estate" id="{E73036FC-2F68-4883-A512-4568618FCBDA}">
          <p14:sldIdLst>
            <p14:sldId id="105306"/>
            <p14:sldId id="105269"/>
            <p14:sldId id="105344"/>
            <p14:sldId id="105342"/>
            <p14:sldId id="105343"/>
          </p14:sldIdLst>
        </p14:section>
        <p14:section name="Operations" id="{779A0E54-FB31-4E3E-9BCD-36988D7C5D26}">
          <p14:sldIdLst>
            <p14:sldId id="105348"/>
            <p14:sldId id="105349"/>
            <p14:sldId id="105268"/>
            <p14:sldId id="105286"/>
            <p14:sldId id="105350"/>
            <p14:sldId id="105351"/>
            <p14:sldId id="105336"/>
            <p14:sldId id="105337"/>
            <p14:sldId id="105338"/>
            <p14:sldId id="105339"/>
          </p14:sldIdLst>
        </p14:section>
        <p14:section name="Maintenance" id="{5CD19206-6CD4-4095-B235-FB3F8E3BE616}">
          <p14:sldIdLst>
            <p14:sldId id="105234"/>
            <p14:sldId id="105264"/>
            <p14:sldId id="2147483625"/>
            <p14:sldId id="2147483626"/>
            <p14:sldId id="105355"/>
            <p14:sldId id="2147483623"/>
            <p14:sldId id="105239"/>
            <p14:sldId id="105225"/>
            <p14:sldId id="105226"/>
            <p14:sldId id="105272"/>
            <p14:sldId id="105354"/>
            <p14:sldId id="105030"/>
            <p14:sldId id="105333"/>
            <p14:sldId id="105346"/>
            <p14:sldId id="105241"/>
            <p14:sldId id="11099"/>
            <p14:sldId id="105242"/>
            <p14:sldId id="105125"/>
            <p14:sldId id="10497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3D831"/>
    <a:srgbClr val="440099"/>
    <a:srgbClr val="E35B2A"/>
    <a:srgbClr val="4900C1"/>
    <a:srgbClr val="F6EFFF"/>
    <a:srgbClr val="8C9EBC"/>
    <a:srgbClr val="1D0092"/>
    <a:srgbClr val="2821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42C17D-8160-48D9-92C8-F7B597A3F141}" v="1" dt="2026-06-17T16:51:50.9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 Type="http://schemas.openxmlformats.org/officeDocument/2006/relationships/slideMaster" Target="slideMasters/slideMaster4.xml"/><Relationship Id="rId7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driguez, Nicole - DEN" userId="edce7eb7-41d3-4b21-8d93-85b303938bcd" providerId="ADAL" clId="{B53800F5-5A40-456F-B28E-49B2E7614C20}"/>
    <pc:docChg chg="custSel addSld delSld modSld modSection">
      <pc:chgData name="Rodriguez, Nicole - DEN" userId="edce7eb7-41d3-4b21-8d93-85b303938bcd" providerId="ADAL" clId="{B53800F5-5A40-456F-B28E-49B2E7614C20}" dt="2026-06-17T16:51:54.384" v="32" actId="2696"/>
      <pc:docMkLst>
        <pc:docMk/>
      </pc:docMkLst>
      <pc:sldChg chg="delSp modSp del mod">
        <pc:chgData name="Rodriguez, Nicole - DEN" userId="edce7eb7-41d3-4b21-8d93-85b303938bcd" providerId="ADAL" clId="{B53800F5-5A40-456F-B28E-49B2E7614C20}" dt="2026-06-17T16:51:54.384" v="32" actId="2696"/>
        <pc:sldMkLst>
          <pc:docMk/>
          <pc:sldMk cId="1890452430" sldId="11112"/>
        </pc:sldMkLst>
        <pc:spChg chg="mod">
          <ac:chgData name="Rodriguez, Nicole - DEN" userId="edce7eb7-41d3-4b21-8d93-85b303938bcd" providerId="ADAL" clId="{B53800F5-5A40-456F-B28E-49B2E7614C20}" dt="2026-06-17T16:38:43.711" v="26" actId="14100"/>
          <ac:spMkLst>
            <pc:docMk/>
            <pc:sldMk cId="1890452430" sldId="11112"/>
            <ac:spMk id="2" creationId="{2A8E78A2-CF2A-D967-9BA5-445035F99065}"/>
          </ac:spMkLst>
        </pc:spChg>
        <pc:spChg chg="del">
          <ac:chgData name="Rodriguez, Nicole - DEN" userId="edce7eb7-41d3-4b21-8d93-85b303938bcd" providerId="ADAL" clId="{B53800F5-5A40-456F-B28E-49B2E7614C20}" dt="2026-06-17T16:38:36.505" v="25" actId="478"/>
          <ac:spMkLst>
            <pc:docMk/>
            <pc:sldMk cId="1890452430" sldId="11112"/>
            <ac:spMk id="4" creationId="{3C1F3072-0F2F-2D71-DE26-C0C1590DE681}"/>
          </ac:spMkLst>
        </pc:spChg>
        <pc:spChg chg="mod">
          <ac:chgData name="Rodriguez, Nicole - DEN" userId="edce7eb7-41d3-4b21-8d93-85b303938bcd" providerId="ADAL" clId="{B53800F5-5A40-456F-B28E-49B2E7614C20}" dt="2026-06-17T16:38:51.631" v="28" actId="1076"/>
          <ac:spMkLst>
            <pc:docMk/>
            <pc:sldMk cId="1890452430" sldId="11112"/>
            <ac:spMk id="5" creationId="{24841190-7D96-86CF-DEBA-2CD24B300636}"/>
          </ac:spMkLst>
        </pc:spChg>
        <pc:spChg chg="del mod">
          <ac:chgData name="Rodriguez, Nicole - DEN" userId="edce7eb7-41d3-4b21-8d93-85b303938bcd" providerId="ADAL" clId="{B53800F5-5A40-456F-B28E-49B2E7614C20}" dt="2026-06-17T16:38:34.190" v="24" actId="478"/>
          <ac:spMkLst>
            <pc:docMk/>
            <pc:sldMk cId="1890452430" sldId="11112"/>
            <ac:spMk id="6" creationId="{8C8C1A30-AA81-69FC-ACE2-37A86EF48CA2}"/>
          </ac:spMkLst>
        </pc:spChg>
        <pc:spChg chg="mod">
          <ac:chgData name="Rodriguez, Nicole - DEN" userId="edce7eb7-41d3-4b21-8d93-85b303938bcd" providerId="ADAL" clId="{B53800F5-5A40-456F-B28E-49B2E7614C20}" dt="2026-06-17T16:38:47.327" v="27" actId="1076"/>
          <ac:spMkLst>
            <pc:docMk/>
            <pc:sldMk cId="1890452430" sldId="11112"/>
            <ac:spMk id="8" creationId="{D5AE1A90-9B8F-832E-D55F-CD23D1E8F277}"/>
          </ac:spMkLst>
        </pc:spChg>
      </pc:sldChg>
      <pc:sldChg chg="addSp modSp del mod chgLayout">
        <pc:chgData name="Rodriguez, Nicole - DEN" userId="edce7eb7-41d3-4b21-8d93-85b303938bcd" providerId="ADAL" clId="{B53800F5-5A40-456F-B28E-49B2E7614C20}" dt="2026-06-17T16:39:20.520" v="30" actId="2696"/>
        <pc:sldMkLst>
          <pc:docMk/>
          <pc:sldMk cId="2923033860" sldId="104948"/>
        </pc:sldMkLst>
        <pc:spChg chg="mod ord">
          <ac:chgData name="Rodriguez, Nicole - DEN" userId="edce7eb7-41d3-4b21-8d93-85b303938bcd" providerId="ADAL" clId="{B53800F5-5A40-456F-B28E-49B2E7614C20}" dt="2026-06-17T16:39:14.269" v="29" actId="6264"/>
          <ac:spMkLst>
            <pc:docMk/>
            <pc:sldMk cId="2923033860" sldId="104948"/>
            <ac:spMk id="2" creationId="{0EF02A2B-449F-272D-69B8-9EFF1D8D0C22}"/>
          </ac:spMkLst>
        </pc:spChg>
        <pc:spChg chg="add mod ord">
          <ac:chgData name="Rodriguez, Nicole - DEN" userId="edce7eb7-41d3-4b21-8d93-85b303938bcd" providerId="ADAL" clId="{B53800F5-5A40-456F-B28E-49B2E7614C20}" dt="2026-06-17T16:39:14.269" v="29" actId="6264"/>
          <ac:spMkLst>
            <pc:docMk/>
            <pc:sldMk cId="2923033860" sldId="104948"/>
            <ac:spMk id="5" creationId="{04E89BDC-4A14-D770-2D67-55D0F4098335}"/>
          </ac:spMkLst>
        </pc:spChg>
        <pc:spChg chg="add mod ord">
          <ac:chgData name="Rodriguez, Nicole - DEN" userId="edce7eb7-41d3-4b21-8d93-85b303938bcd" providerId="ADAL" clId="{B53800F5-5A40-456F-B28E-49B2E7614C20}" dt="2026-06-17T16:39:14.269" v="29" actId="6264"/>
          <ac:spMkLst>
            <pc:docMk/>
            <pc:sldMk cId="2923033860" sldId="104948"/>
            <ac:spMk id="7" creationId="{FCA4D1A3-B099-8E24-47D1-37F7B6A9E697}"/>
          </ac:spMkLst>
        </pc:spChg>
        <pc:spChg chg="add mod ord">
          <ac:chgData name="Rodriguez, Nicole - DEN" userId="edce7eb7-41d3-4b21-8d93-85b303938bcd" providerId="ADAL" clId="{B53800F5-5A40-456F-B28E-49B2E7614C20}" dt="2026-06-17T16:39:14.269" v="29" actId="6264"/>
          <ac:spMkLst>
            <pc:docMk/>
            <pc:sldMk cId="2923033860" sldId="104948"/>
            <ac:spMk id="8" creationId="{064E7BC9-9AF8-854E-8CD4-717F92276553}"/>
          </ac:spMkLst>
        </pc:spChg>
        <pc:spChg chg="add mod ord">
          <ac:chgData name="Rodriguez, Nicole - DEN" userId="edce7eb7-41d3-4b21-8d93-85b303938bcd" providerId="ADAL" clId="{B53800F5-5A40-456F-B28E-49B2E7614C20}" dt="2026-06-17T16:39:14.269" v="29" actId="6264"/>
          <ac:spMkLst>
            <pc:docMk/>
            <pc:sldMk cId="2923033860" sldId="104948"/>
            <ac:spMk id="9" creationId="{4D84EEE4-6A19-4DAA-F573-EEC6ABB7E77C}"/>
          </ac:spMkLst>
        </pc:spChg>
      </pc:sldChg>
      <pc:sldChg chg="modSp mod">
        <pc:chgData name="Rodriguez, Nicole - DEN" userId="edce7eb7-41d3-4b21-8d93-85b303938bcd" providerId="ADAL" clId="{B53800F5-5A40-456F-B28E-49B2E7614C20}" dt="2026-06-10T16:47:14.586" v="17" actId="13244"/>
        <pc:sldMkLst>
          <pc:docMk/>
          <pc:sldMk cId="4050119709" sldId="105269"/>
        </pc:sldMkLst>
        <pc:spChg chg="mod">
          <ac:chgData name="Rodriguez, Nicole - DEN" userId="edce7eb7-41d3-4b21-8d93-85b303938bcd" providerId="ADAL" clId="{B53800F5-5A40-456F-B28E-49B2E7614C20}" dt="2026-06-10T16:47:14.586" v="17" actId="13244"/>
          <ac:spMkLst>
            <pc:docMk/>
            <pc:sldMk cId="4050119709" sldId="105269"/>
            <ac:spMk id="3" creationId="{52609CF0-76DE-AD82-E86C-69F516B64733}"/>
          </ac:spMkLst>
        </pc:spChg>
        <pc:picChg chg="mod">
          <ac:chgData name="Rodriguez, Nicole - DEN" userId="edce7eb7-41d3-4b21-8d93-85b303938bcd" providerId="ADAL" clId="{B53800F5-5A40-456F-B28E-49B2E7614C20}" dt="2026-06-10T16:46:02.848" v="5" actId="962"/>
          <ac:picMkLst>
            <pc:docMk/>
            <pc:sldMk cId="4050119709" sldId="105269"/>
            <ac:picMk id="4" creationId="{2F23DB43-D85E-D2D1-3CBB-07A327874C30}"/>
          </ac:picMkLst>
        </pc:picChg>
      </pc:sldChg>
      <pc:sldChg chg="modSp mod">
        <pc:chgData name="Rodriguez, Nicole - DEN" userId="edce7eb7-41d3-4b21-8d93-85b303938bcd" providerId="ADAL" clId="{B53800F5-5A40-456F-B28E-49B2E7614C20}" dt="2026-06-10T16:46:46.162" v="10" actId="33553"/>
        <pc:sldMkLst>
          <pc:docMk/>
          <pc:sldMk cId="4146975639" sldId="105332"/>
        </pc:sldMkLst>
        <pc:spChg chg="mod">
          <ac:chgData name="Rodriguez, Nicole - DEN" userId="edce7eb7-41d3-4b21-8d93-85b303938bcd" providerId="ADAL" clId="{B53800F5-5A40-456F-B28E-49B2E7614C20}" dt="2026-06-10T16:46:46.162" v="10" actId="33553"/>
          <ac:spMkLst>
            <pc:docMk/>
            <pc:sldMk cId="4146975639" sldId="105332"/>
            <ac:spMk id="11" creationId="{BE28103E-5A5B-3E31-CA5D-6D3EA5950463}"/>
          </ac:spMkLst>
        </pc:spChg>
        <pc:picChg chg="mod">
          <ac:chgData name="Rodriguez, Nicole - DEN" userId="edce7eb7-41d3-4b21-8d93-85b303938bcd" providerId="ADAL" clId="{B53800F5-5A40-456F-B28E-49B2E7614C20}" dt="2026-06-10T16:44:56.475" v="3" actId="962"/>
          <ac:picMkLst>
            <pc:docMk/>
            <pc:sldMk cId="4146975639" sldId="105332"/>
            <ac:picMk id="19" creationId="{249A3E55-451A-57BC-CD97-AA0239E92875}"/>
          </ac:picMkLst>
        </pc:picChg>
      </pc:sldChg>
      <pc:sldChg chg="modSp mod">
        <pc:chgData name="Rodriguez, Nicole - DEN" userId="edce7eb7-41d3-4b21-8d93-85b303938bcd" providerId="ADAL" clId="{B53800F5-5A40-456F-B28E-49B2E7614C20}" dt="2026-06-10T16:47:21.767" v="18" actId="13244"/>
        <pc:sldMkLst>
          <pc:docMk/>
          <pc:sldMk cId="1730595985" sldId="105344"/>
        </pc:sldMkLst>
        <pc:spChg chg="mod">
          <ac:chgData name="Rodriguez, Nicole - DEN" userId="edce7eb7-41d3-4b21-8d93-85b303938bcd" providerId="ADAL" clId="{B53800F5-5A40-456F-B28E-49B2E7614C20}" dt="2026-06-10T16:46:57.819" v="16" actId="20577"/>
          <ac:spMkLst>
            <pc:docMk/>
            <pc:sldMk cId="1730595985" sldId="105344"/>
            <ac:spMk id="16" creationId="{372D0F8A-EE91-CD8C-B83D-AC6C7852B353}"/>
          </ac:spMkLst>
        </pc:spChg>
        <pc:picChg chg="mod">
          <ac:chgData name="Rodriguez, Nicole - DEN" userId="edce7eb7-41d3-4b21-8d93-85b303938bcd" providerId="ADAL" clId="{B53800F5-5A40-456F-B28E-49B2E7614C20}" dt="2026-06-10T16:47:21.767" v="18" actId="13244"/>
          <ac:picMkLst>
            <pc:docMk/>
            <pc:sldMk cId="1730595985" sldId="105344"/>
            <ac:picMk id="5" creationId="{2C9B55C7-098B-D5D2-F5AE-D8F8D33BBF75}"/>
          </ac:picMkLst>
        </pc:picChg>
      </pc:sldChg>
      <pc:sldChg chg="add">
        <pc:chgData name="Rodriguez, Nicole - DEN" userId="edce7eb7-41d3-4b21-8d93-85b303938bcd" providerId="ADAL" clId="{B53800F5-5A40-456F-B28E-49B2E7614C20}" dt="2026-06-10T20:56:47.208" v="19"/>
        <pc:sldMkLst>
          <pc:docMk/>
          <pc:sldMk cId="1808992152" sldId="2147483624"/>
        </pc:sldMkLst>
      </pc:sldChg>
      <pc:sldChg chg="add">
        <pc:chgData name="Rodriguez, Nicole - DEN" userId="edce7eb7-41d3-4b21-8d93-85b303938bcd" providerId="ADAL" clId="{B53800F5-5A40-456F-B28E-49B2E7614C20}" dt="2026-06-17T16:51:50.979" v="31"/>
        <pc:sldMkLst>
          <pc:docMk/>
          <pc:sldMk cId="797326883" sldId="2147483627"/>
        </pc:sldMkLst>
      </pc:sldChg>
      <pc:sldMasterChg chg="delSldLayout">
        <pc:chgData name="Rodriguez, Nicole - DEN" userId="edce7eb7-41d3-4b21-8d93-85b303938bcd" providerId="ADAL" clId="{B53800F5-5A40-456F-B28E-49B2E7614C20}" dt="2026-06-17T16:51:54.384" v="32" actId="2696"/>
        <pc:sldMasterMkLst>
          <pc:docMk/>
          <pc:sldMasterMk cId="1047997387" sldId="2147483787"/>
        </pc:sldMasterMkLst>
        <pc:sldLayoutChg chg="del">
          <pc:chgData name="Rodriguez, Nicole - DEN" userId="edce7eb7-41d3-4b21-8d93-85b303938bcd" providerId="ADAL" clId="{B53800F5-5A40-456F-B28E-49B2E7614C20}" dt="2026-06-17T16:51:54.384" v="32" actId="2696"/>
          <pc:sldLayoutMkLst>
            <pc:docMk/>
            <pc:sldMasterMk cId="1047997387" sldId="2147483787"/>
            <pc:sldLayoutMk cId="200064333" sldId="2147483801"/>
          </pc:sldLayoutMkLst>
        </pc:sldLayoutChg>
      </pc:sldMasterChg>
    </pc:docChg>
  </pc:docChgLst>
  <pc:docChgLst>
    <pc:chgData name="James, Cara - DEN" userId="S::cara.james@flydenver.com::1956f4b0-7e1b-43a2-af8b-59722a874e74" providerId="AD" clId="Web-{8B57F2E1-D696-6BC7-56A6-526FD399F389}"/>
    <pc:docChg chg="delSld modSld modSection">
      <pc:chgData name="James, Cara - DEN" userId="S::cara.james@flydenver.com::1956f4b0-7e1b-43a2-af8b-59722a874e74" providerId="AD" clId="Web-{8B57F2E1-D696-6BC7-56A6-526FD399F389}" dt="2026-06-11T17:22:34.739" v="2" actId="20577"/>
      <pc:docMkLst>
        <pc:docMk/>
      </pc:docMkLst>
      <pc:sldChg chg="modSp">
        <pc:chgData name="James, Cara - DEN" userId="S::cara.james@flydenver.com::1956f4b0-7e1b-43a2-af8b-59722a874e74" providerId="AD" clId="Web-{8B57F2E1-D696-6BC7-56A6-526FD399F389}" dt="2026-06-11T17:22:34.739" v="2" actId="20577"/>
        <pc:sldMkLst>
          <pc:docMk/>
          <pc:sldMk cId="4072365452" sldId="2147483626"/>
        </pc:sldMkLst>
        <pc:spChg chg="mod">
          <ac:chgData name="James, Cara - DEN" userId="S::cara.james@flydenver.com::1956f4b0-7e1b-43a2-af8b-59722a874e74" providerId="AD" clId="Web-{8B57F2E1-D696-6BC7-56A6-526FD399F389}" dt="2026-06-11T17:22:34.739" v="2" actId="20577"/>
          <ac:spMkLst>
            <pc:docMk/>
            <pc:sldMk cId="4072365452" sldId="2147483626"/>
            <ac:spMk id="3" creationId="{C21F5061-10F4-133C-BEB4-2F8E1AAF2E6A}"/>
          </ac:spMkLst>
        </pc:spChg>
      </pc:sldChg>
    </pc:docChg>
  </pc:docChgLst>
  <pc:docChgLst>
    <pc:chgData name="Sandoval, Michelle - DEN" userId="f0650d86-7cc7-4460-9b70-7b2d35e24aab" providerId="ADAL" clId="{03834F33-0E68-4018-8332-528F8005BCA5}"/>
    <pc:docChg chg="custSel modSld">
      <pc:chgData name="Sandoval, Michelle - DEN" userId="f0650d86-7cc7-4460-9b70-7b2d35e24aab" providerId="ADAL" clId="{03834F33-0E68-4018-8332-528F8005BCA5}" dt="2026-06-17T16:13:20.354" v="2" actId="207"/>
      <pc:docMkLst>
        <pc:docMk/>
      </pc:docMkLst>
      <pc:sldChg chg="addSp modSp mod modClrScheme chgLayout">
        <pc:chgData name="Sandoval, Michelle - DEN" userId="f0650d86-7cc7-4460-9b70-7b2d35e24aab" providerId="ADAL" clId="{03834F33-0E68-4018-8332-528F8005BCA5}" dt="2026-06-17T16:13:20.354" v="2" actId="207"/>
        <pc:sldMkLst>
          <pc:docMk/>
          <pc:sldMk cId="1890452430" sldId="11112"/>
        </pc:sldMkLst>
        <pc:spChg chg="add mod ord">
          <ac:chgData name="Sandoval, Michelle - DEN" userId="f0650d86-7cc7-4460-9b70-7b2d35e24aab" providerId="ADAL" clId="{03834F33-0E68-4018-8332-528F8005BCA5}" dt="2026-06-17T16:13:12.010" v="0" actId="700"/>
          <ac:spMkLst>
            <pc:docMk/>
            <pc:sldMk cId="1890452430" sldId="11112"/>
            <ac:spMk id="3" creationId="{C2B0A978-69F1-2A8F-7AEC-BC7B225FCB8B}"/>
          </ac:spMkLst>
        </pc:spChg>
        <pc:spChg chg="add mod ord">
          <ac:chgData name="Sandoval, Michelle - DEN" userId="f0650d86-7cc7-4460-9b70-7b2d35e24aab" providerId="ADAL" clId="{03834F33-0E68-4018-8332-528F8005BCA5}" dt="2026-06-17T16:13:12.010" v="0" actId="700"/>
          <ac:spMkLst>
            <pc:docMk/>
            <pc:sldMk cId="1890452430" sldId="11112"/>
            <ac:spMk id="4" creationId="{3C1F3072-0F2F-2D71-DE26-C0C1590DE681}"/>
          </ac:spMkLst>
        </pc:spChg>
        <pc:spChg chg="mod ord">
          <ac:chgData name="Sandoval, Michelle - DEN" userId="f0650d86-7cc7-4460-9b70-7b2d35e24aab" providerId="ADAL" clId="{03834F33-0E68-4018-8332-528F8005BCA5}" dt="2026-06-17T16:13:12.010" v="0" actId="700"/>
          <ac:spMkLst>
            <pc:docMk/>
            <pc:sldMk cId="1890452430" sldId="11112"/>
            <ac:spMk id="5" creationId="{24841190-7D96-86CF-DEBA-2CD24B300636}"/>
          </ac:spMkLst>
        </pc:spChg>
        <pc:spChg chg="add mod ord">
          <ac:chgData name="Sandoval, Michelle - DEN" userId="f0650d86-7cc7-4460-9b70-7b2d35e24aab" providerId="ADAL" clId="{03834F33-0E68-4018-8332-528F8005BCA5}" dt="2026-06-17T16:13:20.354" v="2" actId="207"/>
          <ac:spMkLst>
            <pc:docMk/>
            <pc:sldMk cId="1890452430" sldId="11112"/>
            <ac:spMk id="6" creationId="{8C8C1A30-AA81-69FC-ACE2-37A86EF48CA2}"/>
          </ac:spMkLst>
        </pc:spChg>
        <pc:spChg chg="mod ord">
          <ac:chgData name="Sandoval, Michelle - DEN" userId="f0650d86-7cc7-4460-9b70-7b2d35e24aab" providerId="ADAL" clId="{03834F33-0E68-4018-8332-528F8005BCA5}" dt="2026-06-17T16:13:12.040" v="1" actId="27636"/>
          <ac:spMkLst>
            <pc:docMk/>
            <pc:sldMk cId="1890452430" sldId="11112"/>
            <ac:spMk id="8" creationId="{D5AE1A90-9B8F-832E-D55F-CD23D1E8F277}"/>
          </ac:spMkLst>
        </pc:spChg>
      </pc:sldChg>
    </pc:docChg>
  </pc:docChgLst>
  <pc:docChgLst>
    <pc:chgData name="Mondragon, Desiree - DEN" userId="cddb16d0-b6f9-4161-a1a6-91a003280c7c" providerId="ADAL" clId="{6F7A62D1-CF64-444F-9356-DF049AA0DC5D}"/>
    <pc:docChg chg="undo custSel addSld delSld modSld sldOrd delMainMaster modSection">
      <pc:chgData name="Mondragon, Desiree - DEN" userId="cddb16d0-b6f9-4161-a1a6-91a003280c7c" providerId="ADAL" clId="{6F7A62D1-CF64-444F-9356-DF049AA0DC5D}" dt="2026-06-11T20:33:10.281" v="854" actId="108"/>
      <pc:docMkLst>
        <pc:docMk/>
      </pc:docMkLst>
      <pc:sldChg chg="modSp mod">
        <pc:chgData name="Mondragon, Desiree - DEN" userId="cddb16d0-b6f9-4161-a1a6-91a003280c7c" providerId="ADAL" clId="{6F7A62D1-CF64-444F-9356-DF049AA0DC5D}" dt="2026-06-11T16:58:22.655" v="247" actId="20577"/>
        <pc:sldMkLst>
          <pc:docMk/>
          <pc:sldMk cId="735330980" sldId="11113"/>
        </pc:sldMkLst>
        <pc:spChg chg="mod">
          <ac:chgData name="Mondragon, Desiree - DEN" userId="cddb16d0-b6f9-4161-a1a6-91a003280c7c" providerId="ADAL" clId="{6F7A62D1-CF64-444F-9356-DF049AA0DC5D}" dt="2026-06-11T16:58:22.655" v="247" actId="20577"/>
          <ac:spMkLst>
            <pc:docMk/>
            <pc:sldMk cId="735330980" sldId="11113"/>
            <ac:spMk id="12" creationId="{F3A340E0-1503-4007-DE5B-398218D4AA5D}"/>
          </ac:spMkLst>
        </pc:spChg>
      </pc:sldChg>
      <pc:sldChg chg="modSp mod">
        <pc:chgData name="Mondragon, Desiree - DEN" userId="cddb16d0-b6f9-4161-a1a6-91a003280c7c" providerId="ADAL" clId="{6F7A62D1-CF64-444F-9356-DF049AA0DC5D}" dt="2026-06-11T16:58:48.285" v="248" actId="108"/>
        <pc:sldMkLst>
          <pc:docMk/>
          <pc:sldMk cId="1363623318" sldId="11137"/>
        </pc:sldMkLst>
        <pc:spChg chg="mod">
          <ac:chgData name="Mondragon, Desiree - DEN" userId="cddb16d0-b6f9-4161-a1a6-91a003280c7c" providerId="ADAL" clId="{6F7A62D1-CF64-444F-9356-DF049AA0DC5D}" dt="2026-06-11T16:58:48.285" v="248" actId="108"/>
          <ac:spMkLst>
            <pc:docMk/>
            <pc:sldMk cId="1363623318" sldId="11137"/>
            <ac:spMk id="9" creationId="{33E76785-83AF-EDB4-F909-25B4EBEBB89B}"/>
          </ac:spMkLst>
        </pc:spChg>
      </pc:sldChg>
      <pc:sldChg chg="modSp mod">
        <pc:chgData name="Mondragon, Desiree - DEN" userId="cddb16d0-b6f9-4161-a1a6-91a003280c7c" providerId="ADAL" clId="{6F7A62D1-CF64-444F-9356-DF049AA0DC5D}" dt="2026-06-11T17:00:00.588" v="255" actId="1076"/>
        <pc:sldMkLst>
          <pc:docMk/>
          <pc:sldMk cId="2917361468" sldId="11192"/>
        </pc:sldMkLst>
        <pc:spChg chg="mod">
          <ac:chgData name="Mondragon, Desiree - DEN" userId="cddb16d0-b6f9-4161-a1a6-91a003280c7c" providerId="ADAL" clId="{6F7A62D1-CF64-444F-9356-DF049AA0DC5D}" dt="2026-06-11T17:00:00.588" v="255" actId="1076"/>
          <ac:spMkLst>
            <pc:docMk/>
            <pc:sldMk cId="2917361468" sldId="11192"/>
            <ac:spMk id="5" creationId="{E31A49D9-D488-963E-D252-8840B6E0167D}"/>
          </ac:spMkLst>
        </pc:spChg>
      </pc:sldChg>
      <pc:sldChg chg="addSp delSp modSp mod">
        <pc:chgData name="Mondragon, Desiree - DEN" userId="cddb16d0-b6f9-4161-a1a6-91a003280c7c" providerId="ADAL" clId="{6F7A62D1-CF64-444F-9356-DF049AA0DC5D}" dt="2026-06-11T20:31:53.738" v="850" actId="13244"/>
        <pc:sldMkLst>
          <pc:docMk/>
          <pc:sldMk cId="2174243624" sldId="105030"/>
        </pc:sldMkLst>
        <pc:spChg chg="add mod">
          <ac:chgData name="Mondragon, Desiree - DEN" userId="cddb16d0-b6f9-4161-a1a6-91a003280c7c" providerId="ADAL" clId="{6F7A62D1-CF64-444F-9356-DF049AA0DC5D}" dt="2026-06-11T20:31:45.670" v="849" actId="13244"/>
          <ac:spMkLst>
            <pc:docMk/>
            <pc:sldMk cId="2174243624" sldId="105030"/>
            <ac:spMk id="4" creationId="{3FE0748C-D177-9B3A-34CD-E5593CD51A26}"/>
          </ac:spMkLst>
        </pc:spChg>
        <pc:spChg chg="mod">
          <ac:chgData name="Mondragon, Desiree - DEN" userId="cddb16d0-b6f9-4161-a1a6-91a003280c7c" providerId="ADAL" clId="{6F7A62D1-CF64-444F-9356-DF049AA0DC5D}" dt="2026-06-11T20:31:53.738" v="850" actId="13244"/>
          <ac:spMkLst>
            <pc:docMk/>
            <pc:sldMk cId="2174243624" sldId="105030"/>
            <ac:spMk id="11" creationId="{5AC59534-46BC-9D99-2389-D7ADB3F5E030}"/>
          </ac:spMkLst>
        </pc:spChg>
      </pc:sldChg>
      <pc:sldChg chg="modSp mod">
        <pc:chgData name="Mondragon, Desiree - DEN" userId="cddb16d0-b6f9-4161-a1a6-91a003280c7c" providerId="ADAL" clId="{6F7A62D1-CF64-444F-9356-DF049AA0DC5D}" dt="2026-06-11T17:00:56.312" v="265" actId="12"/>
        <pc:sldMkLst>
          <pc:docMk/>
          <pc:sldMk cId="66050245" sldId="105102"/>
        </pc:sldMkLst>
        <pc:spChg chg="mod">
          <ac:chgData name="Mondragon, Desiree - DEN" userId="cddb16d0-b6f9-4161-a1a6-91a003280c7c" providerId="ADAL" clId="{6F7A62D1-CF64-444F-9356-DF049AA0DC5D}" dt="2026-06-11T17:00:56.312" v="265" actId="12"/>
          <ac:spMkLst>
            <pc:docMk/>
            <pc:sldMk cId="66050245" sldId="105102"/>
            <ac:spMk id="3" creationId="{382E8DDD-05C7-168B-9D55-290965101779}"/>
          </ac:spMkLst>
        </pc:spChg>
      </pc:sldChg>
      <pc:sldChg chg="modSp mod">
        <pc:chgData name="Mondragon, Desiree - DEN" userId="cddb16d0-b6f9-4161-a1a6-91a003280c7c" providerId="ADAL" clId="{6F7A62D1-CF64-444F-9356-DF049AA0DC5D}" dt="2026-06-11T19:29:29.154" v="380" actId="20577"/>
        <pc:sldMkLst>
          <pc:docMk/>
          <pc:sldMk cId="4274476011" sldId="105234"/>
        </pc:sldMkLst>
        <pc:spChg chg="mod">
          <ac:chgData name="Mondragon, Desiree - DEN" userId="cddb16d0-b6f9-4161-a1a6-91a003280c7c" providerId="ADAL" clId="{6F7A62D1-CF64-444F-9356-DF049AA0DC5D}" dt="2026-06-11T19:29:29.154" v="380" actId="20577"/>
          <ac:spMkLst>
            <pc:docMk/>
            <pc:sldMk cId="4274476011" sldId="105234"/>
            <ac:spMk id="12" creationId="{EAF9C898-9C0B-ABC3-698B-A7E93F680933}"/>
          </ac:spMkLst>
        </pc:spChg>
      </pc:sldChg>
      <pc:sldChg chg="modSp mod">
        <pc:chgData name="Mondragon, Desiree - DEN" userId="cddb16d0-b6f9-4161-a1a6-91a003280c7c" providerId="ADAL" clId="{6F7A62D1-CF64-444F-9356-DF049AA0DC5D}" dt="2026-06-11T19:29:22.363" v="378" actId="20577"/>
        <pc:sldMkLst>
          <pc:docMk/>
          <pc:sldMk cId="2003356160" sldId="105239"/>
        </pc:sldMkLst>
        <pc:spChg chg="mod">
          <ac:chgData name="Mondragon, Desiree - DEN" userId="cddb16d0-b6f9-4161-a1a6-91a003280c7c" providerId="ADAL" clId="{6F7A62D1-CF64-444F-9356-DF049AA0DC5D}" dt="2026-06-11T19:29:22.363" v="378" actId="20577"/>
          <ac:spMkLst>
            <pc:docMk/>
            <pc:sldMk cId="2003356160" sldId="105239"/>
            <ac:spMk id="12" creationId="{A7DB9D50-3832-E0DF-96AB-A32C0B4279A9}"/>
          </ac:spMkLst>
        </pc:spChg>
      </pc:sldChg>
      <pc:sldChg chg="modSp mod">
        <pc:chgData name="Mondragon, Desiree - DEN" userId="cddb16d0-b6f9-4161-a1a6-91a003280c7c" providerId="ADAL" clId="{6F7A62D1-CF64-444F-9356-DF049AA0DC5D}" dt="2026-06-11T19:29:09.933" v="375" actId="6549"/>
        <pc:sldMkLst>
          <pc:docMk/>
          <pc:sldMk cId="1409820184" sldId="105241"/>
        </pc:sldMkLst>
        <pc:spChg chg="mod">
          <ac:chgData name="Mondragon, Desiree - DEN" userId="cddb16d0-b6f9-4161-a1a6-91a003280c7c" providerId="ADAL" clId="{6F7A62D1-CF64-444F-9356-DF049AA0DC5D}" dt="2026-06-11T19:29:09.933" v="375" actId="6549"/>
          <ac:spMkLst>
            <pc:docMk/>
            <pc:sldMk cId="1409820184" sldId="105241"/>
            <ac:spMk id="12" creationId="{237E0F8A-3416-46A2-6293-171F2E9F622E}"/>
          </ac:spMkLst>
        </pc:spChg>
      </pc:sldChg>
      <pc:sldChg chg="modSp mod">
        <pc:chgData name="Mondragon, Desiree - DEN" userId="cddb16d0-b6f9-4161-a1a6-91a003280c7c" providerId="ADAL" clId="{6F7A62D1-CF64-444F-9356-DF049AA0DC5D}" dt="2026-06-11T19:29:06.901" v="374" actId="6549"/>
        <pc:sldMkLst>
          <pc:docMk/>
          <pc:sldMk cId="2182976586" sldId="105242"/>
        </pc:sldMkLst>
        <pc:spChg chg="mod">
          <ac:chgData name="Mondragon, Desiree - DEN" userId="cddb16d0-b6f9-4161-a1a6-91a003280c7c" providerId="ADAL" clId="{6F7A62D1-CF64-444F-9356-DF049AA0DC5D}" dt="2026-06-11T19:29:06.901" v="374" actId="6549"/>
          <ac:spMkLst>
            <pc:docMk/>
            <pc:sldMk cId="2182976586" sldId="105242"/>
            <ac:spMk id="12" creationId="{9B5972C7-FCDC-DE07-E866-EA986D1616D7}"/>
          </ac:spMkLst>
        </pc:spChg>
      </pc:sldChg>
      <pc:sldChg chg="modSp mod">
        <pc:chgData name="Mondragon, Desiree - DEN" userId="cddb16d0-b6f9-4161-a1a6-91a003280c7c" providerId="ADAL" clId="{6F7A62D1-CF64-444F-9356-DF049AA0DC5D}" dt="2026-06-11T19:29:40.351" v="384" actId="20577"/>
        <pc:sldMkLst>
          <pc:docMk/>
          <pc:sldMk cId="3482300415" sldId="105268"/>
        </pc:sldMkLst>
        <pc:spChg chg="mod">
          <ac:chgData name="Mondragon, Desiree - DEN" userId="cddb16d0-b6f9-4161-a1a6-91a003280c7c" providerId="ADAL" clId="{6F7A62D1-CF64-444F-9356-DF049AA0DC5D}" dt="2026-06-11T19:29:40.351" v="384" actId="20577"/>
          <ac:spMkLst>
            <pc:docMk/>
            <pc:sldMk cId="3482300415" sldId="105268"/>
            <ac:spMk id="12" creationId="{54ACDF65-042A-45E3-7A17-04E43D553FAE}"/>
          </ac:spMkLst>
        </pc:spChg>
      </pc:sldChg>
      <pc:sldChg chg="modSp mod">
        <pc:chgData name="Mondragon, Desiree - DEN" userId="cddb16d0-b6f9-4161-a1a6-91a003280c7c" providerId="ADAL" clId="{6F7A62D1-CF64-444F-9356-DF049AA0DC5D}" dt="2026-06-11T17:01:11.610" v="266" actId="12"/>
        <pc:sldMkLst>
          <pc:docMk/>
          <pc:sldMk cId="4050119709" sldId="105269"/>
        </pc:sldMkLst>
        <pc:spChg chg="mod">
          <ac:chgData name="Mondragon, Desiree - DEN" userId="cddb16d0-b6f9-4161-a1a6-91a003280c7c" providerId="ADAL" clId="{6F7A62D1-CF64-444F-9356-DF049AA0DC5D}" dt="2026-06-11T17:01:11.610" v="266" actId="12"/>
          <ac:spMkLst>
            <pc:docMk/>
            <pc:sldMk cId="4050119709" sldId="105269"/>
            <ac:spMk id="3" creationId="{52609CF0-76DE-AD82-E86C-69F516B64733}"/>
          </ac:spMkLst>
        </pc:spChg>
      </pc:sldChg>
      <pc:sldChg chg="modSp mod">
        <pc:chgData name="Mondragon, Desiree - DEN" userId="cddb16d0-b6f9-4161-a1a6-91a003280c7c" providerId="ADAL" clId="{6F7A62D1-CF64-444F-9356-DF049AA0DC5D}" dt="2026-06-11T19:29:17.860" v="377" actId="20577"/>
        <pc:sldMkLst>
          <pc:docMk/>
          <pc:sldMk cId="2147775774" sldId="105272"/>
        </pc:sldMkLst>
        <pc:spChg chg="mod">
          <ac:chgData name="Mondragon, Desiree - DEN" userId="cddb16d0-b6f9-4161-a1a6-91a003280c7c" providerId="ADAL" clId="{6F7A62D1-CF64-444F-9356-DF049AA0DC5D}" dt="2026-06-11T19:29:17.860" v="377" actId="20577"/>
          <ac:spMkLst>
            <pc:docMk/>
            <pc:sldMk cId="2147775774" sldId="105272"/>
            <ac:spMk id="12" creationId="{FC50DAB9-D70B-6CD7-C0C0-A0F4FF0E2EFF}"/>
          </ac:spMkLst>
        </pc:spChg>
      </pc:sldChg>
      <pc:sldChg chg="modSp mod">
        <pc:chgData name="Mondragon, Desiree - DEN" userId="cddb16d0-b6f9-4161-a1a6-91a003280c7c" providerId="ADAL" clId="{6F7A62D1-CF64-444F-9356-DF049AA0DC5D}" dt="2026-06-11T17:01:35.514" v="268" actId="255"/>
        <pc:sldMkLst>
          <pc:docMk/>
          <pc:sldMk cId="1723211621" sldId="105286"/>
        </pc:sldMkLst>
        <pc:spChg chg="mod">
          <ac:chgData name="Mondragon, Desiree - DEN" userId="cddb16d0-b6f9-4161-a1a6-91a003280c7c" providerId="ADAL" clId="{6F7A62D1-CF64-444F-9356-DF049AA0DC5D}" dt="2026-06-11T17:01:35.514" v="268" actId="255"/>
          <ac:spMkLst>
            <pc:docMk/>
            <pc:sldMk cId="1723211621" sldId="105286"/>
            <ac:spMk id="3" creationId="{E9BD6912-F601-95F2-743B-BFF1B9727F23}"/>
          </ac:spMkLst>
        </pc:spChg>
      </pc:sldChg>
      <pc:sldChg chg="modSp">
        <pc:chgData name="Mondragon, Desiree - DEN" userId="cddb16d0-b6f9-4161-a1a6-91a003280c7c" providerId="ADAL" clId="{6F7A62D1-CF64-444F-9356-DF049AA0DC5D}" dt="2026-06-11T20:33:10.281" v="854" actId="108"/>
        <pc:sldMkLst>
          <pc:docMk/>
          <pc:sldMk cId="1774222918" sldId="105299"/>
        </pc:sldMkLst>
        <pc:spChg chg="mod">
          <ac:chgData name="Mondragon, Desiree - DEN" userId="cddb16d0-b6f9-4161-a1a6-91a003280c7c" providerId="ADAL" clId="{6F7A62D1-CF64-444F-9356-DF049AA0DC5D}" dt="2026-06-11T20:33:10.281" v="854" actId="108"/>
          <ac:spMkLst>
            <pc:docMk/>
            <pc:sldMk cId="1774222918" sldId="105299"/>
            <ac:spMk id="9" creationId="{33E76785-83AF-EDB4-F909-25B4EBEBB89B}"/>
          </ac:spMkLst>
        </pc:spChg>
      </pc:sldChg>
      <pc:sldChg chg="modSp mod">
        <pc:chgData name="Mondragon, Desiree - DEN" userId="cddb16d0-b6f9-4161-a1a6-91a003280c7c" providerId="ADAL" clId="{6F7A62D1-CF64-444F-9356-DF049AA0DC5D}" dt="2026-06-11T16:59:37.163" v="254" actId="14100"/>
        <pc:sldMkLst>
          <pc:docMk/>
          <pc:sldMk cId="4140297131" sldId="105302"/>
        </pc:sldMkLst>
        <pc:spChg chg="mod">
          <ac:chgData name="Mondragon, Desiree - DEN" userId="cddb16d0-b6f9-4161-a1a6-91a003280c7c" providerId="ADAL" clId="{6F7A62D1-CF64-444F-9356-DF049AA0DC5D}" dt="2026-06-11T16:59:37.163" v="254" actId="14100"/>
          <ac:spMkLst>
            <pc:docMk/>
            <pc:sldMk cId="4140297131" sldId="105302"/>
            <ac:spMk id="2" creationId="{1423AFD1-9BFB-83C7-F596-73E799A03C31}"/>
          </ac:spMkLst>
        </pc:spChg>
        <pc:spChg chg="mod">
          <ac:chgData name="Mondragon, Desiree - DEN" userId="cddb16d0-b6f9-4161-a1a6-91a003280c7c" providerId="ADAL" clId="{6F7A62D1-CF64-444F-9356-DF049AA0DC5D}" dt="2026-06-11T16:58:56.436" v="249" actId="1076"/>
          <ac:spMkLst>
            <pc:docMk/>
            <pc:sldMk cId="4140297131" sldId="105302"/>
            <ac:spMk id="9" creationId="{AFFAA643-5BCA-D09E-3781-233073906387}"/>
          </ac:spMkLst>
        </pc:spChg>
      </pc:sldChg>
      <pc:sldChg chg="modSp mod">
        <pc:chgData name="Mondragon, Desiree - DEN" userId="cddb16d0-b6f9-4161-a1a6-91a003280c7c" providerId="ADAL" clId="{6F7A62D1-CF64-444F-9356-DF049AA0DC5D}" dt="2026-06-11T19:29:50.142" v="387" actId="20577"/>
        <pc:sldMkLst>
          <pc:docMk/>
          <pc:sldMk cId="2924893739" sldId="105306"/>
        </pc:sldMkLst>
        <pc:spChg chg="mod">
          <ac:chgData name="Mondragon, Desiree - DEN" userId="cddb16d0-b6f9-4161-a1a6-91a003280c7c" providerId="ADAL" clId="{6F7A62D1-CF64-444F-9356-DF049AA0DC5D}" dt="2026-06-11T19:29:50.142" v="387" actId="20577"/>
          <ac:spMkLst>
            <pc:docMk/>
            <pc:sldMk cId="2924893739" sldId="105306"/>
            <ac:spMk id="12" creationId="{E9D3AA62-0F1A-0B3A-384A-39BDD98E95A7}"/>
          </ac:spMkLst>
        </pc:spChg>
      </pc:sldChg>
      <pc:sldChg chg="modSp mod">
        <pc:chgData name="Mondragon, Desiree - DEN" userId="cddb16d0-b6f9-4161-a1a6-91a003280c7c" providerId="ADAL" clId="{6F7A62D1-CF64-444F-9356-DF049AA0DC5D}" dt="2026-06-11T19:29:13.124" v="376" actId="6549"/>
        <pc:sldMkLst>
          <pc:docMk/>
          <pc:sldMk cId="1675807720" sldId="105333"/>
        </pc:sldMkLst>
        <pc:spChg chg="mod">
          <ac:chgData name="Mondragon, Desiree - DEN" userId="cddb16d0-b6f9-4161-a1a6-91a003280c7c" providerId="ADAL" clId="{6F7A62D1-CF64-444F-9356-DF049AA0DC5D}" dt="2026-06-11T19:29:13.124" v="376" actId="6549"/>
          <ac:spMkLst>
            <pc:docMk/>
            <pc:sldMk cId="1675807720" sldId="105333"/>
            <ac:spMk id="12" creationId="{BCDE804D-D84B-D319-2F34-596F1310CA08}"/>
          </ac:spMkLst>
        </pc:spChg>
      </pc:sldChg>
      <pc:sldChg chg="modSp mod">
        <pc:chgData name="Mondragon, Desiree - DEN" userId="cddb16d0-b6f9-4161-a1a6-91a003280c7c" providerId="ADAL" clId="{6F7A62D1-CF64-444F-9356-DF049AA0DC5D}" dt="2026-06-11T19:29:34.559" v="382" actId="20577"/>
        <pc:sldMkLst>
          <pc:docMk/>
          <pc:sldMk cId="2922851388" sldId="105336"/>
        </pc:sldMkLst>
        <pc:spChg chg="mod">
          <ac:chgData name="Mondragon, Desiree - DEN" userId="cddb16d0-b6f9-4161-a1a6-91a003280c7c" providerId="ADAL" clId="{6F7A62D1-CF64-444F-9356-DF049AA0DC5D}" dt="2026-06-11T19:29:34.559" v="382" actId="20577"/>
          <ac:spMkLst>
            <pc:docMk/>
            <pc:sldMk cId="2922851388" sldId="105336"/>
            <ac:spMk id="12" creationId="{5C7398A0-E4F5-6F28-F492-EF00763CC4B0}"/>
          </ac:spMkLst>
        </pc:spChg>
      </pc:sldChg>
      <pc:sldChg chg="modSp mod">
        <pc:chgData name="Mondragon, Desiree - DEN" userId="cddb16d0-b6f9-4161-a1a6-91a003280c7c" providerId="ADAL" clId="{6F7A62D1-CF64-444F-9356-DF049AA0DC5D}" dt="2026-06-11T17:01:47.977" v="269" actId="404"/>
        <pc:sldMkLst>
          <pc:docMk/>
          <pc:sldMk cId="2825334685" sldId="105337"/>
        </pc:sldMkLst>
        <pc:spChg chg="mod">
          <ac:chgData name="Mondragon, Desiree - DEN" userId="cddb16d0-b6f9-4161-a1a6-91a003280c7c" providerId="ADAL" clId="{6F7A62D1-CF64-444F-9356-DF049AA0DC5D}" dt="2026-06-11T17:01:47.977" v="269" actId="404"/>
          <ac:spMkLst>
            <pc:docMk/>
            <pc:sldMk cId="2825334685" sldId="105337"/>
            <ac:spMk id="3" creationId="{21155BEA-403E-9B36-3AA4-30359691A702}"/>
          </ac:spMkLst>
        </pc:spChg>
      </pc:sldChg>
      <pc:sldChg chg="modSp mod">
        <pc:chgData name="Mondragon, Desiree - DEN" userId="cddb16d0-b6f9-4161-a1a6-91a003280c7c" providerId="ADAL" clId="{6F7A62D1-CF64-444F-9356-DF049AA0DC5D}" dt="2026-06-11T19:29:32.461" v="381" actId="20577"/>
        <pc:sldMkLst>
          <pc:docMk/>
          <pc:sldMk cId="947889556" sldId="105338"/>
        </pc:sldMkLst>
        <pc:spChg chg="mod">
          <ac:chgData name="Mondragon, Desiree - DEN" userId="cddb16d0-b6f9-4161-a1a6-91a003280c7c" providerId="ADAL" clId="{6F7A62D1-CF64-444F-9356-DF049AA0DC5D}" dt="2026-06-11T19:29:32.461" v="381" actId="20577"/>
          <ac:spMkLst>
            <pc:docMk/>
            <pc:sldMk cId="947889556" sldId="105338"/>
            <ac:spMk id="12" creationId="{0AF362DF-7988-896D-6CF7-0FF4D7342981}"/>
          </ac:spMkLst>
        </pc:spChg>
      </pc:sldChg>
      <pc:sldChg chg="modSp mod">
        <pc:chgData name="Mondragon, Desiree - DEN" userId="cddb16d0-b6f9-4161-a1a6-91a003280c7c" providerId="ADAL" clId="{6F7A62D1-CF64-444F-9356-DF049AA0DC5D}" dt="2026-06-11T19:29:59.940" v="390" actId="20577"/>
        <pc:sldMkLst>
          <pc:docMk/>
          <pc:sldMk cId="467468562" sldId="105340"/>
        </pc:sldMkLst>
        <pc:spChg chg="mod">
          <ac:chgData name="Mondragon, Desiree - DEN" userId="cddb16d0-b6f9-4161-a1a6-91a003280c7c" providerId="ADAL" clId="{6F7A62D1-CF64-444F-9356-DF049AA0DC5D}" dt="2026-06-11T19:29:59.940" v="390" actId="20577"/>
          <ac:spMkLst>
            <pc:docMk/>
            <pc:sldMk cId="467468562" sldId="105340"/>
            <ac:spMk id="12" creationId="{E67F5FD9-F13D-971F-774F-56FD684BB55B}"/>
          </ac:spMkLst>
        </pc:spChg>
      </pc:sldChg>
      <pc:sldChg chg="modSp mod">
        <pc:chgData name="Mondragon, Desiree - DEN" userId="cddb16d0-b6f9-4161-a1a6-91a003280c7c" providerId="ADAL" clId="{6F7A62D1-CF64-444F-9356-DF049AA0DC5D}" dt="2026-06-11T17:00:10.286" v="257" actId="20577"/>
        <pc:sldMkLst>
          <pc:docMk/>
          <pc:sldMk cId="2163554186" sldId="105341"/>
        </pc:sldMkLst>
        <pc:spChg chg="mod">
          <ac:chgData name="Mondragon, Desiree - DEN" userId="cddb16d0-b6f9-4161-a1a6-91a003280c7c" providerId="ADAL" clId="{6F7A62D1-CF64-444F-9356-DF049AA0DC5D}" dt="2026-06-11T17:00:10.286" v="257" actId="20577"/>
          <ac:spMkLst>
            <pc:docMk/>
            <pc:sldMk cId="2163554186" sldId="105341"/>
            <ac:spMk id="3" creationId="{AF2E401D-7E84-4DD1-FD11-CAA69A475904}"/>
          </ac:spMkLst>
        </pc:spChg>
      </pc:sldChg>
      <pc:sldChg chg="modSp mod modShow">
        <pc:chgData name="Mondragon, Desiree - DEN" userId="cddb16d0-b6f9-4161-a1a6-91a003280c7c" providerId="ADAL" clId="{6F7A62D1-CF64-444F-9356-DF049AA0DC5D}" dt="2026-06-11T19:29:46.687" v="386" actId="20577"/>
        <pc:sldMkLst>
          <pc:docMk/>
          <pc:sldMk cId="853534190" sldId="105342"/>
        </pc:sldMkLst>
        <pc:spChg chg="mod">
          <ac:chgData name="Mondragon, Desiree - DEN" userId="cddb16d0-b6f9-4161-a1a6-91a003280c7c" providerId="ADAL" clId="{6F7A62D1-CF64-444F-9356-DF049AA0DC5D}" dt="2026-06-11T19:29:46.687" v="386" actId="20577"/>
          <ac:spMkLst>
            <pc:docMk/>
            <pc:sldMk cId="853534190" sldId="105342"/>
            <ac:spMk id="12" creationId="{012B9D98-57AA-4C61-F58E-6E360845D3FA}"/>
          </ac:spMkLst>
        </pc:spChg>
      </pc:sldChg>
      <pc:sldChg chg="mod modShow">
        <pc:chgData name="Mondragon, Desiree - DEN" userId="cddb16d0-b6f9-4161-a1a6-91a003280c7c" providerId="ADAL" clId="{6F7A62D1-CF64-444F-9356-DF049AA0DC5D}" dt="2026-06-11T16:35:32.894" v="211" actId="729"/>
        <pc:sldMkLst>
          <pc:docMk/>
          <pc:sldMk cId="1681432001" sldId="105343"/>
        </pc:sldMkLst>
      </pc:sldChg>
      <pc:sldChg chg="modSp mod">
        <pc:chgData name="Mondragon, Desiree - DEN" userId="cddb16d0-b6f9-4161-a1a6-91a003280c7c" providerId="ADAL" clId="{6F7A62D1-CF64-444F-9356-DF049AA0DC5D}" dt="2026-06-11T19:29:53.188" v="388" actId="20577"/>
        <pc:sldMkLst>
          <pc:docMk/>
          <pc:sldMk cId="3059998951" sldId="105347"/>
        </pc:sldMkLst>
        <pc:spChg chg="mod">
          <ac:chgData name="Mondragon, Desiree - DEN" userId="cddb16d0-b6f9-4161-a1a6-91a003280c7c" providerId="ADAL" clId="{6F7A62D1-CF64-444F-9356-DF049AA0DC5D}" dt="2026-06-11T19:29:53.188" v="388" actId="20577"/>
          <ac:spMkLst>
            <pc:docMk/>
            <pc:sldMk cId="3059998951" sldId="105347"/>
            <ac:spMk id="12" creationId="{2A42BBB6-C711-C25B-0EB1-29002967C0A0}"/>
          </ac:spMkLst>
        </pc:spChg>
      </pc:sldChg>
      <pc:sldChg chg="modSp mod">
        <pc:chgData name="Mondragon, Desiree - DEN" userId="cddb16d0-b6f9-4161-a1a6-91a003280c7c" providerId="ADAL" clId="{6F7A62D1-CF64-444F-9356-DF049AA0DC5D}" dt="2026-06-11T19:29:42.823" v="385" actId="20577"/>
        <pc:sldMkLst>
          <pc:docMk/>
          <pc:sldMk cId="1402336189" sldId="105348"/>
        </pc:sldMkLst>
        <pc:spChg chg="mod">
          <ac:chgData name="Mondragon, Desiree - DEN" userId="cddb16d0-b6f9-4161-a1a6-91a003280c7c" providerId="ADAL" clId="{6F7A62D1-CF64-444F-9356-DF049AA0DC5D}" dt="2026-06-11T19:29:42.823" v="385" actId="20577"/>
          <ac:spMkLst>
            <pc:docMk/>
            <pc:sldMk cId="1402336189" sldId="105348"/>
            <ac:spMk id="12" creationId="{A2432F46-F483-A5A5-2189-34A8C014CCC7}"/>
          </ac:spMkLst>
        </pc:spChg>
      </pc:sldChg>
      <pc:sldChg chg="modSp mod">
        <pc:chgData name="Mondragon, Desiree - DEN" userId="cddb16d0-b6f9-4161-a1a6-91a003280c7c" providerId="ADAL" clId="{6F7A62D1-CF64-444F-9356-DF049AA0DC5D}" dt="2026-06-11T17:01:25.053" v="267" actId="12"/>
        <pc:sldMkLst>
          <pc:docMk/>
          <pc:sldMk cId="3453687648" sldId="105349"/>
        </pc:sldMkLst>
        <pc:spChg chg="mod">
          <ac:chgData name="Mondragon, Desiree - DEN" userId="cddb16d0-b6f9-4161-a1a6-91a003280c7c" providerId="ADAL" clId="{6F7A62D1-CF64-444F-9356-DF049AA0DC5D}" dt="2026-06-11T17:01:25.053" v="267" actId="12"/>
          <ac:spMkLst>
            <pc:docMk/>
            <pc:sldMk cId="3453687648" sldId="105349"/>
            <ac:spMk id="3" creationId="{58B95F97-4C0B-9988-AAA8-DF6F1DA1FA5E}"/>
          </ac:spMkLst>
        </pc:spChg>
      </pc:sldChg>
      <pc:sldChg chg="modSp mod">
        <pc:chgData name="Mondragon, Desiree - DEN" userId="cddb16d0-b6f9-4161-a1a6-91a003280c7c" providerId="ADAL" clId="{6F7A62D1-CF64-444F-9356-DF049AA0DC5D}" dt="2026-06-11T19:29:37.305" v="383" actId="20577"/>
        <pc:sldMkLst>
          <pc:docMk/>
          <pc:sldMk cId="850255442" sldId="105350"/>
        </pc:sldMkLst>
        <pc:spChg chg="mod">
          <ac:chgData name="Mondragon, Desiree - DEN" userId="cddb16d0-b6f9-4161-a1a6-91a003280c7c" providerId="ADAL" clId="{6F7A62D1-CF64-444F-9356-DF049AA0DC5D}" dt="2026-06-11T19:29:37.305" v="383" actId="20577"/>
          <ac:spMkLst>
            <pc:docMk/>
            <pc:sldMk cId="850255442" sldId="105350"/>
            <ac:spMk id="12" creationId="{82E3D190-037C-CF31-DEBB-EDD51820DC14}"/>
          </ac:spMkLst>
        </pc:spChg>
      </pc:sldChg>
      <pc:sldChg chg="modSp mod">
        <pc:chgData name="Mondragon, Desiree - DEN" userId="cddb16d0-b6f9-4161-a1a6-91a003280c7c" providerId="ADAL" clId="{6F7A62D1-CF64-444F-9356-DF049AA0DC5D}" dt="2026-06-11T19:29:56.509" v="389" actId="20577"/>
        <pc:sldMkLst>
          <pc:docMk/>
          <pc:sldMk cId="1551388290" sldId="105352"/>
        </pc:sldMkLst>
        <pc:spChg chg="mod">
          <ac:chgData name="Mondragon, Desiree - DEN" userId="cddb16d0-b6f9-4161-a1a6-91a003280c7c" providerId="ADAL" clId="{6F7A62D1-CF64-444F-9356-DF049AA0DC5D}" dt="2026-06-11T19:29:56.509" v="389" actId="20577"/>
          <ac:spMkLst>
            <pc:docMk/>
            <pc:sldMk cId="1551388290" sldId="105352"/>
            <ac:spMk id="12" creationId="{E9D3AA62-0F1A-0B3A-384A-39BDD98E95A7}"/>
          </ac:spMkLst>
        </pc:spChg>
      </pc:sldChg>
      <pc:sldChg chg="modSp mod">
        <pc:chgData name="Mondragon, Desiree - DEN" userId="cddb16d0-b6f9-4161-a1a6-91a003280c7c" providerId="ADAL" clId="{6F7A62D1-CF64-444F-9356-DF049AA0DC5D}" dt="2026-06-11T17:00:14.559" v="258" actId="20577"/>
        <pc:sldMkLst>
          <pc:docMk/>
          <pc:sldMk cId="801265383" sldId="105353"/>
        </pc:sldMkLst>
        <pc:spChg chg="mod">
          <ac:chgData name="Mondragon, Desiree - DEN" userId="cddb16d0-b6f9-4161-a1a6-91a003280c7c" providerId="ADAL" clId="{6F7A62D1-CF64-444F-9356-DF049AA0DC5D}" dt="2026-06-11T17:00:14.559" v="258" actId="20577"/>
          <ac:spMkLst>
            <pc:docMk/>
            <pc:sldMk cId="801265383" sldId="105353"/>
            <ac:spMk id="3" creationId="{52609CF0-76DE-AD82-E86C-69F516B64733}"/>
          </ac:spMkLst>
        </pc:spChg>
      </pc:sldChg>
      <pc:sldChg chg="modSp mod">
        <pc:chgData name="Mondragon, Desiree - DEN" userId="cddb16d0-b6f9-4161-a1a6-91a003280c7c" providerId="ADAL" clId="{6F7A62D1-CF64-444F-9356-DF049AA0DC5D}" dt="2026-06-11T17:02:23.943" v="271" actId="12"/>
        <pc:sldMkLst>
          <pc:docMk/>
          <pc:sldMk cId="842054931" sldId="105354"/>
        </pc:sldMkLst>
        <pc:spChg chg="mod">
          <ac:chgData name="Mondragon, Desiree - DEN" userId="cddb16d0-b6f9-4161-a1a6-91a003280c7c" providerId="ADAL" clId="{6F7A62D1-CF64-444F-9356-DF049AA0DC5D}" dt="2026-06-11T17:02:23.943" v="271" actId="12"/>
          <ac:spMkLst>
            <pc:docMk/>
            <pc:sldMk cId="842054931" sldId="105354"/>
            <ac:spMk id="15" creationId="{D87F3D45-DCF2-E64E-35CA-C62A35B43D13}"/>
          </ac:spMkLst>
        </pc:spChg>
      </pc:sldChg>
      <pc:sldChg chg="modSp add mod ord">
        <pc:chgData name="Mondragon, Desiree - DEN" userId="cddb16d0-b6f9-4161-a1a6-91a003280c7c" providerId="ADAL" clId="{6F7A62D1-CF64-444F-9356-DF049AA0DC5D}" dt="2026-06-11T19:29:26.205" v="379" actId="20577"/>
        <pc:sldMkLst>
          <pc:docMk/>
          <pc:sldMk cId="4180264467" sldId="105355"/>
        </pc:sldMkLst>
        <pc:spChg chg="mod">
          <ac:chgData name="Mondragon, Desiree - DEN" userId="cddb16d0-b6f9-4161-a1a6-91a003280c7c" providerId="ADAL" clId="{6F7A62D1-CF64-444F-9356-DF049AA0DC5D}" dt="2026-06-11T19:29:26.205" v="379" actId="20577"/>
          <ac:spMkLst>
            <pc:docMk/>
            <pc:sldMk cId="4180264467" sldId="105355"/>
            <ac:spMk id="12" creationId="{05198735-E463-921E-3674-1F39453DA7A5}"/>
          </ac:spMkLst>
        </pc:spChg>
      </pc:sldChg>
      <pc:sldChg chg="delSp modSp add del">
        <pc:chgData name="Mondragon, Desiree - DEN" userId="cddb16d0-b6f9-4161-a1a6-91a003280c7c" providerId="ADAL" clId="{6F7A62D1-CF64-444F-9356-DF049AA0DC5D}" dt="2026-06-11T20:31:10.844" v="848" actId="962"/>
        <pc:sldMkLst>
          <pc:docMk/>
          <pc:sldMk cId="3928365746" sldId="2147483623"/>
        </pc:sldMkLst>
        <pc:spChg chg="mod">
          <ac:chgData name="Mondragon, Desiree - DEN" userId="cddb16d0-b6f9-4161-a1a6-91a003280c7c" providerId="ADAL" clId="{6F7A62D1-CF64-444F-9356-DF049AA0DC5D}" dt="2026-06-11T20:31:05.224" v="846" actId="962"/>
          <ac:spMkLst>
            <pc:docMk/>
            <pc:sldMk cId="3928365746" sldId="2147483623"/>
            <ac:spMk id="31" creationId="{A8E75D0D-A62B-8DF9-F9C1-71C7CF2054A6}"/>
          </ac:spMkLst>
        </pc:spChg>
        <pc:spChg chg="mod">
          <ac:chgData name="Mondragon, Desiree - DEN" userId="cddb16d0-b6f9-4161-a1a6-91a003280c7c" providerId="ADAL" clId="{6F7A62D1-CF64-444F-9356-DF049AA0DC5D}" dt="2026-06-11T20:31:08.610" v="847" actId="962"/>
          <ac:spMkLst>
            <pc:docMk/>
            <pc:sldMk cId="3928365746" sldId="2147483623"/>
            <ac:spMk id="3139" creationId="{C33CE575-74F4-3CBE-E77A-1D2B142C2D92}"/>
          </ac:spMkLst>
        </pc:spChg>
        <pc:spChg chg="mod">
          <ac:chgData name="Mondragon, Desiree - DEN" userId="cddb16d0-b6f9-4161-a1a6-91a003280c7c" providerId="ADAL" clId="{6F7A62D1-CF64-444F-9356-DF049AA0DC5D}" dt="2026-06-11T20:31:10.844" v="848" actId="962"/>
          <ac:spMkLst>
            <pc:docMk/>
            <pc:sldMk cId="3928365746" sldId="2147483623"/>
            <ac:spMk id="3149" creationId="{55315D2D-4D3A-F8BD-CD66-CF2EA977987D}"/>
          </ac:spMkLst>
        </pc:spChg>
        <pc:graphicFrameChg chg="mod">
          <ac:chgData name="Mondragon, Desiree - DEN" userId="cddb16d0-b6f9-4161-a1a6-91a003280c7c" providerId="ADAL" clId="{6F7A62D1-CF64-444F-9356-DF049AA0DC5D}" dt="2026-06-11T20:30:14.120" v="838" actId="962"/>
          <ac:graphicFrameMkLst>
            <pc:docMk/>
            <pc:sldMk cId="3928365746" sldId="2147483623"/>
            <ac:graphicFrameMk id="2" creationId="{E1028773-59E1-EDE7-A6A5-17B8CC13F5E3}"/>
          </ac:graphicFrameMkLst>
        </pc:graphicFrameChg>
        <pc:picChg chg="mod">
          <ac:chgData name="Mondragon, Desiree - DEN" userId="cddb16d0-b6f9-4161-a1a6-91a003280c7c" providerId="ADAL" clId="{6F7A62D1-CF64-444F-9356-DF049AA0DC5D}" dt="2026-06-11T20:29:07.918" v="827" actId="962"/>
          <ac:picMkLst>
            <pc:docMk/>
            <pc:sldMk cId="3928365746" sldId="2147483623"/>
            <ac:picMk id="9" creationId="{F2F06CC4-4648-87D3-E7F8-FE849AE64123}"/>
          </ac:picMkLst>
        </pc:picChg>
        <pc:picChg chg="mod">
          <ac:chgData name="Mondragon, Desiree - DEN" userId="cddb16d0-b6f9-4161-a1a6-91a003280c7c" providerId="ADAL" clId="{6F7A62D1-CF64-444F-9356-DF049AA0DC5D}" dt="2026-06-11T20:29:09.415" v="828" actId="962"/>
          <ac:picMkLst>
            <pc:docMk/>
            <pc:sldMk cId="3928365746" sldId="2147483623"/>
            <ac:picMk id="23" creationId="{234289B9-E202-6F6E-7A58-2E2D847E2659}"/>
          </ac:picMkLst>
        </pc:picChg>
        <pc:picChg chg="mod">
          <ac:chgData name="Mondragon, Desiree - DEN" userId="cddb16d0-b6f9-4161-a1a6-91a003280c7c" providerId="ADAL" clId="{6F7A62D1-CF64-444F-9356-DF049AA0DC5D}" dt="2026-06-11T20:29:12.568" v="829" actId="962"/>
          <ac:picMkLst>
            <pc:docMk/>
            <pc:sldMk cId="3928365746" sldId="2147483623"/>
            <ac:picMk id="28" creationId="{4C2E1717-D5EB-0F4A-022D-952B44E6A861}"/>
          </ac:picMkLst>
        </pc:picChg>
        <pc:picChg chg="mod">
          <ac:chgData name="Mondragon, Desiree - DEN" userId="cddb16d0-b6f9-4161-a1a6-91a003280c7c" providerId="ADAL" clId="{6F7A62D1-CF64-444F-9356-DF049AA0DC5D}" dt="2026-06-11T20:29:05.353" v="826" actId="962"/>
          <ac:picMkLst>
            <pc:docMk/>
            <pc:sldMk cId="3928365746" sldId="2147483623"/>
            <ac:picMk id="30" creationId="{AD7F3530-D045-C3E8-7B03-EC6566055D91}"/>
          </ac:picMkLst>
        </pc:picChg>
        <pc:picChg chg="mod">
          <ac:chgData name="Mondragon, Desiree - DEN" userId="cddb16d0-b6f9-4161-a1a6-91a003280c7c" providerId="ADAL" clId="{6F7A62D1-CF64-444F-9356-DF049AA0DC5D}" dt="2026-06-11T20:30:16.296" v="839" actId="962"/>
          <ac:picMkLst>
            <pc:docMk/>
            <pc:sldMk cId="3928365746" sldId="2147483623"/>
            <ac:picMk id="3145" creationId="{0443E2D2-8452-743E-6A86-86D2735C5B5B}"/>
          </ac:picMkLst>
        </pc:picChg>
      </pc:sldChg>
      <pc:sldChg chg="modSp">
        <pc:chgData name="Mondragon, Desiree - DEN" userId="cddb16d0-b6f9-4161-a1a6-91a003280c7c" providerId="ADAL" clId="{6F7A62D1-CF64-444F-9356-DF049AA0DC5D}" dt="2026-06-11T20:28:40.349" v="825" actId="962"/>
        <pc:sldMkLst>
          <pc:docMk/>
          <pc:sldMk cId="1808992152" sldId="2147483624"/>
        </pc:sldMkLst>
        <pc:picChg chg="mod">
          <ac:chgData name="Mondragon, Desiree - DEN" userId="cddb16d0-b6f9-4161-a1a6-91a003280c7c" providerId="ADAL" clId="{6F7A62D1-CF64-444F-9356-DF049AA0DC5D}" dt="2026-06-11T20:28:39.890" v="824" actId="962"/>
          <ac:picMkLst>
            <pc:docMk/>
            <pc:sldMk cId="1808992152" sldId="2147483624"/>
            <ac:picMk id="3" creationId="{5685ACE5-F0D5-3236-21EC-6D89D9A3DB91}"/>
          </ac:picMkLst>
        </pc:picChg>
        <pc:picChg chg="mod">
          <ac:chgData name="Mondragon, Desiree - DEN" userId="cddb16d0-b6f9-4161-a1a6-91a003280c7c" providerId="ADAL" clId="{6F7A62D1-CF64-444F-9356-DF049AA0DC5D}" dt="2026-06-11T20:28:36.933" v="823" actId="962"/>
          <ac:picMkLst>
            <pc:docMk/>
            <pc:sldMk cId="1808992152" sldId="2147483624"/>
            <ac:picMk id="7" creationId="{203FD0C5-45EC-AFA1-3AA0-04CF2C0EE92B}"/>
          </ac:picMkLst>
        </pc:picChg>
        <pc:picChg chg="mod">
          <ac:chgData name="Mondragon, Desiree - DEN" userId="cddb16d0-b6f9-4161-a1a6-91a003280c7c" providerId="ADAL" clId="{6F7A62D1-CF64-444F-9356-DF049AA0DC5D}" dt="2026-06-11T20:28:40.349" v="825" actId="962"/>
          <ac:picMkLst>
            <pc:docMk/>
            <pc:sldMk cId="1808992152" sldId="2147483624"/>
            <ac:picMk id="8" creationId="{7BB36F9D-B512-69BC-C034-499603F08828}"/>
          </ac:picMkLst>
        </pc:picChg>
      </pc:sldChg>
      <pc:sldChg chg="modSp add mod">
        <pc:chgData name="Mondragon, Desiree - DEN" userId="cddb16d0-b6f9-4161-a1a6-91a003280c7c" providerId="ADAL" clId="{6F7A62D1-CF64-444F-9356-DF049AA0DC5D}" dt="2026-06-11T16:52:56.523" v="224" actId="20577"/>
        <pc:sldMkLst>
          <pc:docMk/>
          <pc:sldMk cId="3762018399" sldId="2147483625"/>
        </pc:sldMkLst>
        <pc:spChg chg="mod">
          <ac:chgData name="Mondragon, Desiree - DEN" userId="cddb16d0-b6f9-4161-a1a6-91a003280c7c" providerId="ADAL" clId="{6F7A62D1-CF64-444F-9356-DF049AA0DC5D}" dt="2026-06-11T16:52:56.523" v="224" actId="20577"/>
          <ac:spMkLst>
            <pc:docMk/>
            <pc:sldMk cId="3762018399" sldId="2147483625"/>
            <ac:spMk id="16" creationId="{6B87E075-F89A-47F8-BE91-3C2F06421ECB}"/>
          </ac:spMkLst>
        </pc:spChg>
      </pc:sldChg>
      <pc:sldChg chg="modSp add mod">
        <pc:chgData name="Mondragon, Desiree - DEN" userId="cddb16d0-b6f9-4161-a1a6-91a003280c7c" providerId="ADAL" clId="{6F7A62D1-CF64-444F-9356-DF049AA0DC5D}" dt="2026-06-11T17:02:12.439" v="270" actId="12"/>
        <pc:sldMkLst>
          <pc:docMk/>
          <pc:sldMk cId="4072365452" sldId="2147483626"/>
        </pc:sldMkLst>
        <pc:spChg chg="mod">
          <ac:chgData name="Mondragon, Desiree - DEN" userId="cddb16d0-b6f9-4161-a1a6-91a003280c7c" providerId="ADAL" clId="{6F7A62D1-CF64-444F-9356-DF049AA0DC5D}" dt="2026-06-11T17:02:12.439" v="270" actId="12"/>
          <ac:spMkLst>
            <pc:docMk/>
            <pc:sldMk cId="4072365452" sldId="2147483626"/>
            <ac:spMk id="3" creationId="{C21F5061-10F4-133C-BEB4-2F8E1AAF2E6A}"/>
          </ac:spMkLst>
        </pc:spChg>
        <pc:spChg chg="mod">
          <ac:chgData name="Mondragon, Desiree - DEN" userId="cddb16d0-b6f9-4161-a1a6-91a003280c7c" providerId="ADAL" clId="{6F7A62D1-CF64-444F-9356-DF049AA0DC5D}" dt="2026-06-11T16:20:19.795" v="36" actId="1076"/>
          <ac:spMkLst>
            <pc:docMk/>
            <pc:sldMk cId="4072365452" sldId="2147483626"/>
            <ac:spMk id="16" creationId="{42306B09-9189-A7D0-6152-55960AB64D3C}"/>
          </ac:spMkLst>
        </pc:spChg>
      </pc:sldChg>
    </pc:docChg>
  </pc:docChgLst>
  <pc:docChgLst>
    <pc:chgData name="James, Cara - DEN" userId="S::cara.james@flydenver.com::1956f4b0-7e1b-43a2-af8b-59722a874e74" providerId="AD" clId="Web-{FAF852E8-B2BA-2F88-6967-7606A70E6260}"/>
    <pc:docChg chg="modSld">
      <pc:chgData name="James, Cara - DEN" userId="S::cara.james@flydenver.com::1956f4b0-7e1b-43a2-af8b-59722a874e74" providerId="AD" clId="Web-{FAF852E8-B2BA-2F88-6967-7606A70E6260}" dt="2026-06-11T19:20:06.241" v="33" actId="20577"/>
      <pc:docMkLst>
        <pc:docMk/>
      </pc:docMkLst>
      <pc:sldChg chg="modSp">
        <pc:chgData name="James, Cara - DEN" userId="S::cara.james@flydenver.com::1956f4b0-7e1b-43a2-af8b-59722a874e74" providerId="AD" clId="Web-{FAF852E8-B2BA-2F88-6967-7606A70E6260}" dt="2026-06-11T19:20:06.241" v="33" actId="20577"/>
        <pc:sldMkLst>
          <pc:docMk/>
          <pc:sldMk cId="3366343411" sldId="105264"/>
        </pc:sldMkLst>
        <pc:spChg chg="mod">
          <ac:chgData name="James, Cara - DEN" userId="S::cara.james@flydenver.com::1956f4b0-7e1b-43a2-af8b-59722a874e74" providerId="AD" clId="Web-{FAF852E8-B2BA-2F88-6967-7606A70E6260}" dt="2026-06-11T19:20:06.241" v="33" actId="20577"/>
          <ac:spMkLst>
            <pc:docMk/>
            <pc:sldMk cId="3366343411" sldId="105264"/>
            <ac:spMk id="3" creationId="{0D3BF9D1-8BCD-533E-63BA-1E4F781F8365}"/>
          </ac:spMkLst>
        </pc:spChg>
        <pc:spChg chg="mod">
          <ac:chgData name="James, Cara - DEN" userId="S::cara.james@flydenver.com::1956f4b0-7e1b-43a2-af8b-59722a874e74" providerId="AD" clId="Web-{FAF852E8-B2BA-2F88-6967-7606A70E6260}" dt="2026-06-11T19:16:09.847" v="25" actId="20577"/>
          <ac:spMkLst>
            <pc:docMk/>
            <pc:sldMk cId="3366343411" sldId="105264"/>
            <ac:spMk id="16" creationId="{6F28196B-146E-A03B-FEC2-27589D326F67}"/>
          </ac:spMkLst>
        </pc:spChg>
      </pc:sldChg>
    </pc:docChg>
  </pc:docChgLst>
  <pc:docChgLst>
    <pc:chgData name="Mondragon, Desiree - DEN" userId="S::desiree.mondragon@flydenver.com::cddb16d0-b6f9-4161-a1a6-91a003280c7c" providerId="AD" clId="Web-{3F08FA6D-DB48-4161-AFFA-35B52D6F899B}"/>
    <pc:docChg chg="modSld">
      <pc:chgData name="Mondragon, Desiree - DEN" userId="S::desiree.mondragon@flydenver.com::cddb16d0-b6f9-4161-a1a6-91a003280c7c" providerId="AD" clId="Web-{3F08FA6D-DB48-4161-AFFA-35B52D6F899B}" dt="2026-06-11T16:56:59.391" v="1406"/>
      <pc:docMkLst>
        <pc:docMk/>
      </pc:docMkLst>
      <pc:sldChg chg="modSp">
        <pc:chgData name="Mondragon, Desiree - DEN" userId="S::desiree.mondragon@flydenver.com::cddb16d0-b6f9-4161-a1a6-91a003280c7c" providerId="AD" clId="Web-{3F08FA6D-DB48-4161-AFFA-35B52D6F899B}" dt="2026-06-11T16:49:04.060" v="1084" actId="20577"/>
        <pc:sldMkLst>
          <pc:docMk/>
          <pc:sldMk cId="2174243624" sldId="105030"/>
        </pc:sldMkLst>
      </pc:sldChg>
      <pc:sldChg chg="modSp">
        <pc:chgData name="Mondragon, Desiree - DEN" userId="S::desiree.mondragon@flydenver.com::cddb16d0-b6f9-4161-a1a6-91a003280c7c" providerId="AD" clId="Web-{3F08FA6D-DB48-4161-AFFA-35B52D6F899B}" dt="2026-06-11T16:47:14.263" v="1066" actId="20577"/>
        <pc:sldMkLst>
          <pc:docMk/>
          <pc:sldMk cId="4274476011" sldId="105234"/>
        </pc:sldMkLst>
        <pc:spChg chg="mod">
          <ac:chgData name="Mondragon, Desiree - DEN" userId="S::desiree.mondragon@flydenver.com::cddb16d0-b6f9-4161-a1a6-91a003280c7c" providerId="AD" clId="Web-{3F08FA6D-DB48-4161-AFFA-35B52D6F899B}" dt="2026-06-11T16:47:14.263" v="1066" actId="20577"/>
          <ac:spMkLst>
            <pc:docMk/>
            <pc:sldMk cId="4274476011" sldId="105234"/>
            <ac:spMk id="12" creationId="{EAF9C898-9C0B-ABC3-698B-A7E93F680933}"/>
          </ac:spMkLst>
        </pc:spChg>
      </pc:sldChg>
      <pc:sldChg chg="modSp">
        <pc:chgData name="Mondragon, Desiree - DEN" userId="S::desiree.mondragon@flydenver.com::cddb16d0-b6f9-4161-a1a6-91a003280c7c" providerId="AD" clId="Web-{3F08FA6D-DB48-4161-AFFA-35B52D6F899B}" dt="2026-06-11T16:49:17.326" v="1086" actId="20577"/>
        <pc:sldMkLst>
          <pc:docMk/>
          <pc:sldMk cId="1409820184" sldId="105241"/>
        </pc:sldMkLst>
        <pc:spChg chg="mod">
          <ac:chgData name="Mondragon, Desiree - DEN" userId="S::desiree.mondragon@flydenver.com::cddb16d0-b6f9-4161-a1a6-91a003280c7c" providerId="AD" clId="Web-{3F08FA6D-DB48-4161-AFFA-35B52D6F899B}" dt="2026-06-11T16:49:17.326" v="1086" actId="20577"/>
          <ac:spMkLst>
            <pc:docMk/>
            <pc:sldMk cId="1409820184" sldId="105241"/>
            <ac:spMk id="12" creationId="{237E0F8A-3416-46A2-6293-171F2E9F622E}"/>
          </ac:spMkLst>
        </pc:spChg>
      </pc:sldChg>
      <pc:sldChg chg="modSp">
        <pc:chgData name="Mondragon, Desiree - DEN" userId="S::desiree.mondragon@flydenver.com::cddb16d0-b6f9-4161-a1a6-91a003280c7c" providerId="AD" clId="Web-{3F08FA6D-DB48-4161-AFFA-35B52D6F899B}" dt="2026-06-11T16:49:20.654" v="1087" actId="20577"/>
        <pc:sldMkLst>
          <pc:docMk/>
          <pc:sldMk cId="2182976586" sldId="105242"/>
        </pc:sldMkLst>
        <pc:spChg chg="mod">
          <ac:chgData name="Mondragon, Desiree - DEN" userId="S::desiree.mondragon@flydenver.com::cddb16d0-b6f9-4161-a1a6-91a003280c7c" providerId="AD" clId="Web-{3F08FA6D-DB48-4161-AFFA-35B52D6F899B}" dt="2026-06-11T16:49:20.654" v="1087" actId="20577"/>
          <ac:spMkLst>
            <pc:docMk/>
            <pc:sldMk cId="2182976586" sldId="105242"/>
            <ac:spMk id="12" creationId="{9B5972C7-FCDC-DE07-E866-EA986D1616D7}"/>
          </ac:spMkLst>
        </pc:spChg>
      </pc:sldChg>
      <pc:sldChg chg="modSp">
        <pc:chgData name="Mondragon, Desiree - DEN" userId="S::desiree.mondragon@flydenver.com::cddb16d0-b6f9-4161-a1a6-91a003280c7c" providerId="AD" clId="Web-{3F08FA6D-DB48-4161-AFFA-35B52D6F899B}" dt="2026-06-11T16:48:32.935" v="1078" actId="20577"/>
        <pc:sldMkLst>
          <pc:docMk/>
          <pc:sldMk cId="2147775774" sldId="105272"/>
        </pc:sldMkLst>
        <pc:spChg chg="mod">
          <ac:chgData name="Mondragon, Desiree - DEN" userId="S::desiree.mondragon@flydenver.com::cddb16d0-b6f9-4161-a1a6-91a003280c7c" providerId="AD" clId="Web-{3F08FA6D-DB48-4161-AFFA-35B52D6F899B}" dt="2026-06-11T16:48:32.935" v="1078" actId="20577"/>
          <ac:spMkLst>
            <pc:docMk/>
            <pc:sldMk cId="2147775774" sldId="105272"/>
            <ac:spMk id="12" creationId="{FC50DAB9-D70B-6CD7-C0C0-A0F4FF0E2EFF}"/>
          </ac:spMkLst>
        </pc:spChg>
      </pc:sldChg>
      <pc:sldChg chg="modSp">
        <pc:chgData name="Mondragon, Desiree - DEN" userId="S::desiree.mondragon@flydenver.com::cddb16d0-b6f9-4161-a1a6-91a003280c7c" providerId="AD" clId="Web-{3F08FA6D-DB48-4161-AFFA-35B52D6F899B}" dt="2026-06-11T16:48:22.170" v="1076" actId="20577"/>
        <pc:sldMkLst>
          <pc:docMk/>
          <pc:sldMk cId="1675807720" sldId="105333"/>
        </pc:sldMkLst>
        <pc:spChg chg="mod">
          <ac:chgData name="Mondragon, Desiree - DEN" userId="S::desiree.mondragon@flydenver.com::cddb16d0-b6f9-4161-a1a6-91a003280c7c" providerId="AD" clId="Web-{3F08FA6D-DB48-4161-AFFA-35B52D6F899B}" dt="2026-06-11T16:48:22.170" v="1076" actId="20577"/>
          <ac:spMkLst>
            <pc:docMk/>
            <pc:sldMk cId="1675807720" sldId="105333"/>
            <ac:spMk id="12" creationId="{BCDE804D-D84B-D319-2F34-596F1310CA08}"/>
          </ac:spMkLst>
        </pc:spChg>
      </pc:sldChg>
      <pc:sldChg chg="modSp">
        <pc:chgData name="Mondragon, Desiree - DEN" userId="S::desiree.mondragon@flydenver.com::cddb16d0-b6f9-4161-a1a6-91a003280c7c" providerId="AD" clId="Web-{3F08FA6D-DB48-4161-AFFA-35B52D6F899B}" dt="2026-06-11T16:47:40.029" v="1071" actId="20577"/>
        <pc:sldMkLst>
          <pc:docMk/>
          <pc:sldMk cId="2922851388" sldId="105336"/>
        </pc:sldMkLst>
        <pc:spChg chg="mod">
          <ac:chgData name="Mondragon, Desiree - DEN" userId="S::desiree.mondragon@flydenver.com::cddb16d0-b6f9-4161-a1a6-91a003280c7c" providerId="AD" clId="Web-{3F08FA6D-DB48-4161-AFFA-35B52D6F899B}" dt="2026-06-11T16:47:40.029" v="1071" actId="20577"/>
          <ac:spMkLst>
            <pc:docMk/>
            <pc:sldMk cId="2922851388" sldId="105336"/>
            <ac:spMk id="12" creationId="{5C7398A0-E4F5-6F28-F492-EF00763CC4B0}"/>
          </ac:spMkLst>
        </pc:spChg>
      </pc:sldChg>
      <pc:sldChg chg="modSp">
        <pc:chgData name="Mondragon, Desiree - DEN" userId="S::desiree.mondragon@flydenver.com::cddb16d0-b6f9-4161-a1a6-91a003280c7c" providerId="AD" clId="Web-{3F08FA6D-DB48-4161-AFFA-35B52D6F899B}" dt="2026-06-11T16:47:32.951" v="1070" actId="20577"/>
        <pc:sldMkLst>
          <pc:docMk/>
          <pc:sldMk cId="947889556" sldId="105338"/>
        </pc:sldMkLst>
        <pc:spChg chg="mod">
          <ac:chgData name="Mondragon, Desiree - DEN" userId="S::desiree.mondragon@flydenver.com::cddb16d0-b6f9-4161-a1a6-91a003280c7c" providerId="AD" clId="Web-{3F08FA6D-DB48-4161-AFFA-35B52D6F899B}" dt="2026-06-11T16:47:32.951" v="1070" actId="20577"/>
          <ac:spMkLst>
            <pc:docMk/>
            <pc:sldMk cId="947889556" sldId="105338"/>
            <ac:spMk id="12" creationId="{0AF362DF-7988-896D-6CF7-0FF4D7342981}"/>
          </ac:spMkLst>
        </pc:spChg>
      </pc:sldChg>
      <pc:sldChg chg="modSp mod modShow">
        <pc:chgData name="Mondragon, Desiree - DEN" userId="S::desiree.mondragon@flydenver.com::cddb16d0-b6f9-4161-a1a6-91a003280c7c" providerId="AD" clId="Web-{3F08FA6D-DB48-4161-AFFA-35B52D6F899B}" dt="2026-06-11T16:47:58.216" v="1074" actId="20577"/>
        <pc:sldMkLst>
          <pc:docMk/>
          <pc:sldMk cId="853534190" sldId="105342"/>
        </pc:sldMkLst>
        <pc:spChg chg="mod">
          <ac:chgData name="Mondragon, Desiree - DEN" userId="S::desiree.mondragon@flydenver.com::cddb16d0-b6f9-4161-a1a6-91a003280c7c" providerId="AD" clId="Web-{3F08FA6D-DB48-4161-AFFA-35B52D6F899B}" dt="2026-06-11T16:47:58.216" v="1074" actId="20577"/>
          <ac:spMkLst>
            <pc:docMk/>
            <pc:sldMk cId="853534190" sldId="105342"/>
            <ac:spMk id="12" creationId="{012B9D98-57AA-4C61-F58E-6E360845D3FA}"/>
          </ac:spMkLst>
        </pc:spChg>
      </pc:sldChg>
      <pc:sldChg chg="mod modShow">
        <pc:chgData name="Mondragon, Desiree - DEN" userId="S::desiree.mondragon@flydenver.com::cddb16d0-b6f9-4161-a1a6-91a003280c7c" providerId="AD" clId="Web-{3F08FA6D-DB48-4161-AFFA-35B52D6F899B}" dt="2026-06-11T16:44:28.840" v="1063"/>
        <pc:sldMkLst>
          <pc:docMk/>
          <pc:sldMk cId="1681432001" sldId="105343"/>
        </pc:sldMkLst>
      </pc:sldChg>
      <pc:sldChg chg="modSp">
        <pc:chgData name="Mondragon, Desiree - DEN" userId="S::desiree.mondragon@flydenver.com::cddb16d0-b6f9-4161-a1a6-91a003280c7c" providerId="AD" clId="Web-{3F08FA6D-DB48-4161-AFFA-35B52D6F899B}" dt="2026-06-11T16:48:06.294" v="1075" actId="20577"/>
        <pc:sldMkLst>
          <pc:docMk/>
          <pc:sldMk cId="3059998951" sldId="105347"/>
        </pc:sldMkLst>
        <pc:spChg chg="mod">
          <ac:chgData name="Mondragon, Desiree - DEN" userId="S::desiree.mondragon@flydenver.com::cddb16d0-b6f9-4161-a1a6-91a003280c7c" providerId="AD" clId="Web-{3F08FA6D-DB48-4161-AFFA-35B52D6F899B}" dt="2026-06-11T16:48:06.294" v="1075" actId="20577"/>
          <ac:spMkLst>
            <pc:docMk/>
            <pc:sldMk cId="3059998951" sldId="105347"/>
            <ac:spMk id="12" creationId="{2A42BBB6-C711-C25B-0EB1-29002967C0A0}"/>
          </ac:spMkLst>
        </pc:spChg>
      </pc:sldChg>
      <pc:sldChg chg="modSp">
        <pc:chgData name="Mondragon, Desiree - DEN" userId="S::desiree.mondragon@flydenver.com::cddb16d0-b6f9-4161-a1a6-91a003280c7c" providerId="AD" clId="Web-{3F08FA6D-DB48-4161-AFFA-35B52D6F899B}" dt="2026-06-11T16:47:52.997" v="1073" actId="20577"/>
        <pc:sldMkLst>
          <pc:docMk/>
          <pc:sldMk cId="1402336189" sldId="105348"/>
        </pc:sldMkLst>
        <pc:spChg chg="mod">
          <ac:chgData name="Mondragon, Desiree - DEN" userId="S::desiree.mondragon@flydenver.com::cddb16d0-b6f9-4161-a1a6-91a003280c7c" providerId="AD" clId="Web-{3F08FA6D-DB48-4161-AFFA-35B52D6F899B}" dt="2026-06-11T16:47:52.997" v="1073" actId="20577"/>
          <ac:spMkLst>
            <pc:docMk/>
            <pc:sldMk cId="1402336189" sldId="105348"/>
            <ac:spMk id="12" creationId="{A2432F46-F483-A5A5-2189-34A8C014CCC7}"/>
          </ac:spMkLst>
        </pc:spChg>
      </pc:sldChg>
      <pc:sldChg chg="modSp">
        <pc:chgData name="Mondragon, Desiree - DEN" userId="S::desiree.mondragon@flydenver.com::cddb16d0-b6f9-4161-a1a6-91a003280c7c" providerId="AD" clId="Web-{3F08FA6D-DB48-4161-AFFA-35B52D6F899B}" dt="2026-06-11T16:47:44.810" v="1072" actId="20577"/>
        <pc:sldMkLst>
          <pc:docMk/>
          <pc:sldMk cId="850255442" sldId="105350"/>
        </pc:sldMkLst>
        <pc:spChg chg="mod">
          <ac:chgData name="Mondragon, Desiree - DEN" userId="S::desiree.mondragon@flydenver.com::cddb16d0-b6f9-4161-a1a6-91a003280c7c" providerId="AD" clId="Web-{3F08FA6D-DB48-4161-AFFA-35B52D6F899B}" dt="2026-06-11T16:47:44.810" v="1072" actId="20577"/>
          <ac:spMkLst>
            <pc:docMk/>
            <pc:sldMk cId="850255442" sldId="105350"/>
            <ac:spMk id="12" creationId="{82E3D190-037C-CF31-DEBB-EDD51820DC14}"/>
          </ac:spMkLst>
        </pc:spChg>
      </pc:sldChg>
      <pc:sldChg chg="modSp">
        <pc:chgData name="Mondragon, Desiree - DEN" userId="S::desiree.mondragon@flydenver.com::cddb16d0-b6f9-4161-a1a6-91a003280c7c" providerId="AD" clId="Web-{3F08FA6D-DB48-4161-AFFA-35B52D6F899B}" dt="2026-06-11T16:48:50.529" v="1081" actId="20577"/>
        <pc:sldMkLst>
          <pc:docMk/>
          <pc:sldMk cId="842054931" sldId="105354"/>
        </pc:sldMkLst>
        <pc:spChg chg="mod">
          <ac:chgData name="Mondragon, Desiree - DEN" userId="S::desiree.mondragon@flydenver.com::cddb16d0-b6f9-4161-a1a6-91a003280c7c" providerId="AD" clId="Web-{3F08FA6D-DB48-4161-AFFA-35B52D6F899B}" dt="2026-06-11T16:48:50.529" v="1081" actId="20577"/>
          <ac:spMkLst>
            <pc:docMk/>
            <pc:sldMk cId="842054931" sldId="105354"/>
            <ac:spMk id="12" creationId="{6E474C82-84CC-99DD-DE36-3A790CE3428B}"/>
          </ac:spMkLst>
        </pc:spChg>
      </pc:sldChg>
      <pc:sldChg chg="modSp">
        <pc:chgData name="Mondragon, Desiree - DEN" userId="S::desiree.mondragon@flydenver.com::cddb16d0-b6f9-4161-a1a6-91a003280c7c" providerId="AD" clId="Web-{3F08FA6D-DB48-4161-AFFA-35B52D6F899B}" dt="2026-06-11T16:47:07.810" v="1065" actId="20577"/>
        <pc:sldMkLst>
          <pc:docMk/>
          <pc:sldMk cId="4180264467" sldId="105355"/>
        </pc:sldMkLst>
        <pc:spChg chg="mod">
          <ac:chgData name="Mondragon, Desiree - DEN" userId="S::desiree.mondragon@flydenver.com::cddb16d0-b6f9-4161-a1a6-91a003280c7c" providerId="AD" clId="Web-{3F08FA6D-DB48-4161-AFFA-35B52D6F899B}" dt="2026-06-11T16:47:07.810" v="1065" actId="20577"/>
          <ac:spMkLst>
            <pc:docMk/>
            <pc:sldMk cId="4180264467" sldId="105355"/>
            <ac:spMk id="12" creationId="{05198735-E463-921E-3674-1F39453DA7A5}"/>
          </ac:spMkLst>
        </pc:spChg>
      </pc:sldChg>
    </pc:docChg>
  </pc:docChgLst>
  <pc:docChgLst>
    <pc:chgData name="Anderson, Sara - DEN" userId="S::sara.anderson@flydenver.com::e3f8ecb3-2193-4665-ba34-5827b1a98428" providerId="AD" clId="Web-{ECC380B8-E027-B31A-86E6-06DE6FAFAFAD}"/>
    <pc:docChg chg="modSld">
      <pc:chgData name="Anderson, Sara - DEN" userId="S::sara.anderson@flydenver.com::e3f8ecb3-2193-4665-ba34-5827b1a98428" providerId="AD" clId="Web-{ECC380B8-E027-B31A-86E6-06DE6FAFAFAD}" dt="2026-06-11T19:10:49.234" v="137"/>
      <pc:docMkLst>
        <pc:docMk/>
      </pc:docMkLst>
      <pc:sldChg chg="modSp modNotes">
        <pc:chgData name="Anderson, Sara - DEN" userId="S::sara.anderson@flydenver.com::e3f8ecb3-2193-4665-ba34-5827b1a98428" providerId="AD" clId="Web-{ECC380B8-E027-B31A-86E6-06DE6FAFAFAD}" dt="2026-06-11T19:10:49.234" v="137"/>
        <pc:sldMkLst>
          <pc:docMk/>
          <pc:sldMk cId="2174243624" sldId="105030"/>
        </pc:sldMkLst>
        <pc:spChg chg="mod">
          <ac:chgData name="Anderson, Sara - DEN" userId="S::sara.anderson@flydenver.com::e3f8ecb3-2193-4665-ba34-5827b1a98428" providerId="AD" clId="Web-{ECC380B8-E027-B31A-86E6-06DE6FAFAFAD}" dt="2026-06-11T18:58:17.641" v="104" actId="20577"/>
          <ac:spMkLst>
            <pc:docMk/>
            <pc:sldMk cId="2174243624" sldId="105030"/>
            <ac:spMk id="3" creationId="{988BD695-D245-7B37-12E9-21EF2D182D3D}"/>
          </ac:spMkLst>
        </pc:spChg>
        <pc:spChg chg="mod">
          <ac:chgData name="Anderson, Sara - DEN" userId="S::sara.anderson@flydenver.com::e3f8ecb3-2193-4665-ba34-5827b1a98428" providerId="AD" clId="Web-{ECC380B8-E027-B31A-86E6-06DE6FAFAFAD}" dt="2026-06-11T18:58:03.157" v="102" actId="1076"/>
          <ac:spMkLst>
            <pc:docMk/>
            <pc:sldMk cId="2174243624" sldId="105030"/>
            <ac:spMk id="7" creationId="{CB6E8D9B-2A09-F1B1-F0B6-CF8D471E051E}"/>
          </ac:spMkLst>
        </pc:spChg>
      </pc:sldChg>
      <pc:sldChg chg="modSp">
        <pc:chgData name="Anderson, Sara - DEN" userId="S::sara.anderson@flydenver.com::e3f8ecb3-2193-4665-ba34-5827b1a98428" providerId="AD" clId="Web-{ECC380B8-E027-B31A-86E6-06DE6FAFAFAD}" dt="2026-06-11T18:57:29.422" v="101" actId="14100"/>
        <pc:sldMkLst>
          <pc:docMk/>
          <pc:sldMk cId="2147775774" sldId="105272"/>
        </pc:sldMkLst>
        <pc:spChg chg="mod">
          <ac:chgData name="Anderson, Sara - DEN" userId="S::sara.anderson@flydenver.com::e3f8ecb3-2193-4665-ba34-5827b1a98428" providerId="AD" clId="Web-{ECC380B8-E027-B31A-86E6-06DE6FAFAFAD}" dt="2026-06-11T18:57:29.422" v="101" actId="14100"/>
          <ac:spMkLst>
            <pc:docMk/>
            <pc:sldMk cId="2147775774" sldId="105272"/>
            <ac:spMk id="12" creationId="{FC50DAB9-D70B-6CD7-C0C0-A0F4FF0E2EFF}"/>
          </ac:spMkLst>
        </pc:spChg>
      </pc:sldChg>
      <pc:sldChg chg="modNotes">
        <pc:chgData name="Anderson, Sara - DEN" userId="S::sara.anderson@flydenver.com::e3f8ecb3-2193-4665-ba34-5827b1a98428" providerId="AD" clId="Web-{ECC380B8-E027-B31A-86E6-06DE6FAFAFAD}" dt="2026-06-11T19:03:11.125" v="130"/>
        <pc:sldMkLst>
          <pc:docMk/>
          <pc:sldMk cId="842054931" sldId="105354"/>
        </pc:sldMkLst>
      </pc:sldChg>
    </pc:docChg>
  </pc:docChgLst>
  <pc:docChgLst>
    <pc:chgData name="Rodriguez, Nicole - DEN" userId="S::nicole.rodriguez@flydenver.com::edce7eb7-41d3-4b21-8d93-85b303938bcd" providerId="AD" clId="Web-{3195C303-816F-020E-4D02-EBFB3C10AD43}"/>
    <pc:docChg chg="delSld modSection">
      <pc:chgData name="Rodriguez, Nicole - DEN" userId="S::nicole.rodriguez@flydenver.com::edce7eb7-41d3-4b21-8d93-85b303938bcd" providerId="AD" clId="Web-{3195C303-816F-020E-4D02-EBFB3C10AD43}" dt="2026-06-10T16:06:17.526" v="0"/>
      <pc:docMkLst>
        <pc:docMk/>
      </pc:docMkLst>
    </pc:docChg>
  </pc:docChgLst>
  <pc:docChgLst>
    <pc:chgData name="Bonilla, Areli - DEN" userId="S::areli.bonilla@flydenver.com::6bab88ab-254b-427c-81ac-36a012df9b9c" providerId="AD" clId="Web-{A9D43C8E-1518-C21D-1FC4-3067C9C14DC3}"/>
    <pc:docChg chg="modSld">
      <pc:chgData name="Bonilla, Areli - DEN" userId="S::areli.bonilla@flydenver.com::6bab88ab-254b-427c-81ac-36a012df9b9c" providerId="AD" clId="Web-{A9D43C8E-1518-C21D-1FC4-3067C9C14DC3}" dt="2026-06-10T20:05:20.187" v="37" actId="20577"/>
      <pc:docMkLst>
        <pc:docMk/>
      </pc:docMkLst>
      <pc:sldChg chg="modSp">
        <pc:chgData name="Bonilla, Areli - DEN" userId="S::areli.bonilla@flydenver.com::6bab88ab-254b-427c-81ac-36a012df9b9c" providerId="AD" clId="Web-{A9D43C8E-1518-C21D-1FC4-3067C9C14DC3}" dt="2026-06-10T20:05:20.187" v="37" actId="20577"/>
        <pc:sldMkLst>
          <pc:docMk/>
          <pc:sldMk cId="801265383" sldId="105353"/>
        </pc:sldMkLst>
        <pc:spChg chg="mod">
          <ac:chgData name="Bonilla, Areli - DEN" userId="S::areli.bonilla@flydenver.com::6bab88ab-254b-427c-81ac-36a012df9b9c" providerId="AD" clId="Web-{A9D43C8E-1518-C21D-1FC4-3067C9C14DC3}" dt="2026-06-10T20:05:20.187" v="37" actId="20577"/>
          <ac:spMkLst>
            <pc:docMk/>
            <pc:sldMk cId="801265383" sldId="105353"/>
            <ac:spMk id="3" creationId="{52609CF0-76DE-AD82-E86C-69F516B64733}"/>
          </ac:spMkLst>
        </pc:spChg>
        <pc:spChg chg="mod">
          <ac:chgData name="Bonilla, Areli - DEN" userId="S::areli.bonilla@flydenver.com::6bab88ab-254b-427c-81ac-36a012df9b9c" providerId="AD" clId="Web-{A9D43C8E-1518-C21D-1FC4-3067C9C14DC3}" dt="2026-06-10T19:44:54.539" v="32" actId="20577"/>
          <ac:spMkLst>
            <pc:docMk/>
            <pc:sldMk cId="801265383" sldId="105353"/>
            <ac:spMk id="16" creationId="{E02F61DA-A8B9-A8A2-7AF3-7A831019AD49}"/>
          </ac:spMkLst>
        </pc:spChg>
      </pc:sldChg>
    </pc:docChg>
  </pc:docChgLst>
  <pc:docChgLst>
    <pc:chgData name="Mondragon, Desiree - DEN" userId="S::desiree.mondragon@flydenver.com::cddb16d0-b6f9-4161-a1a6-91a003280c7c" providerId="AD" clId="Web-{139A3DA4-69E6-856C-FC0B-10CFCE79308B}"/>
    <pc:docChg chg="modSld">
      <pc:chgData name="Mondragon, Desiree - DEN" userId="S::desiree.mondragon@flydenver.com::cddb16d0-b6f9-4161-a1a6-91a003280c7c" providerId="AD" clId="Web-{139A3DA4-69E6-856C-FC0B-10CFCE79308B}" dt="2026-06-10T19:55:37.805" v="7"/>
      <pc:docMkLst>
        <pc:docMk/>
      </pc:docMkLst>
    </pc:docChg>
  </pc:docChgLst>
  <pc:docChgLst>
    <pc:chgData name="Anderson, Sara - DEN" userId="S::sara.anderson@flydenver.com::e3f8ecb3-2193-4665-ba34-5827b1a98428" providerId="AD" clId="Web-{167B39B1-7C09-7528-7F26-1ED04FF754F7}"/>
    <pc:docChg chg="addSld delSld modSld modSection">
      <pc:chgData name="Anderson, Sara - DEN" userId="S::sara.anderson@flydenver.com::e3f8ecb3-2193-4665-ba34-5827b1a98428" providerId="AD" clId="Web-{167B39B1-7C09-7528-7F26-1ED04FF754F7}" dt="2026-06-10T18:55:48.398" v="59" actId="20577"/>
      <pc:docMkLst>
        <pc:docMk/>
      </pc:docMkLst>
      <pc:sldChg chg="modSp add">
        <pc:chgData name="Anderson, Sara - DEN" userId="S::sara.anderson@flydenver.com::e3f8ecb3-2193-4665-ba34-5827b1a98428" providerId="AD" clId="Web-{167B39B1-7C09-7528-7F26-1ED04FF754F7}" dt="2026-06-10T18:55:25.991" v="56" actId="1076"/>
        <pc:sldMkLst>
          <pc:docMk/>
          <pc:sldMk cId="2174243624" sldId="105030"/>
        </pc:sldMkLst>
        <pc:spChg chg="mod">
          <ac:chgData name="Anderson, Sara - DEN" userId="S::sara.anderson@flydenver.com::e3f8ecb3-2193-4665-ba34-5827b1a98428" providerId="AD" clId="Web-{167B39B1-7C09-7528-7F26-1ED04FF754F7}" dt="2026-06-10T18:55:25.991" v="56" actId="1076"/>
          <ac:spMkLst>
            <pc:docMk/>
            <pc:sldMk cId="2174243624" sldId="105030"/>
            <ac:spMk id="3" creationId="{988BD695-D245-7B37-12E9-21EF2D182D3D}"/>
          </ac:spMkLst>
        </pc:spChg>
        <pc:spChg chg="mod">
          <ac:chgData name="Anderson, Sara - DEN" userId="S::sara.anderson@flydenver.com::e3f8ecb3-2193-4665-ba34-5827b1a98428" providerId="AD" clId="Web-{167B39B1-7C09-7528-7F26-1ED04FF754F7}" dt="2026-06-10T18:53:21.596" v="32" actId="1076"/>
          <ac:spMkLst>
            <pc:docMk/>
            <pc:sldMk cId="2174243624" sldId="105030"/>
            <ac:spMk id="7" creationId="{CB6E8D9B-2A09-F1B1-F0B6-CF8D471E051E}"/>
          </ac:spMkLst>
        </pc:spChg>
        <pc:spChg chg="mod">
          <ac:chgData name="Anderson, Sara - DEN" userId="S::sara.anderson@flydenver.com::e3f8ecb3-2193-4665-ba34-5827b1a98428" providerId="AD" clId="Web-{167B39B1-7C09-7528-7F26-1ED04FF754F7}" dt="2026-06-10T18:55:13.788" v="55" actId="1076"/>
          <ac:spMkLst>
            <pc:docMk/>
            <pc:sldMk cId="2174243624" sldId="105030"/>
            <ac:spMk id="9" creationId="{FA8BB7B8-0D68-EECF-364B-5A514DEE3EE6}"/>
          </ac:spMkLst>
        </pc:spChg>
        <pc:spChg chg="mod">
          <ac:chgData name="Anderson, Sara - DEN" userId="S::sara.anderson@flydenver.com::e3f8ecb3-2193-4665-ba34-5827b1a98428" providerId="AD" clId="Web-{167B39B1-7C09-7528-7F26-1ED04FF754F7}" dt="2026-06-10T18:55:05.085" v="54" actId="1076"/>
          <ac:spMkLst>
            <pc:docMk/>
            <pc:sldMk cId="2174243624" sldId="105030"/>
            <ac:spMk id="11" creationId="{5AC59534-46BC-9D99-2389-D7ADB3F5E030}"/>
          </ac:spMkLst>
        </pc:spChg>
      </pc:sldChg>
      <pc:sldChg chg="modSp add">
        <pc:chgData name="Anderson, Sara - DEN" userId="S::sara.anderson@flydenver.com::e3f8ecb3-2193-4665-ba34-5827b1a98428" providerId="AD" clId="Web-{167B39B1-7C09-7528-7F26-1ED04FF754F7}" dt="2026-06-10T18:55:48.398" v="59" actId="20577"/>
        <pc:sldMkLst>
          <pc:docMk/>
          <pc:sldMk cId="842054931" sldId="105354"/>
        </pc:sldMkLst>
        <pc:spChg chg="mod">
          <ac:chgData name="Anderson, Sara - DEN" userId="S::sara.anderson@flydenver.com::e3f8ecb3-2193-4665-ba34-5827b1a98428" providerId="AD" clId="Web-{167B39B1-7C09-7528-7F26-1ED04FF754F7}" dt="2026-06-10T18:55:48.398" v="59" actId="20577"/>
          <ac:spMkLst>
            <pc:docMk/>
            <pc:sldMk cId="842054931" sldId="105354"/>
            <ac:spMk id="15" creationId="{D87F3D45-DCF2-E64E-35CA-C62A35B43D13}"/>
          </ac:spMkLst>
        </pc:spChg>
      </pc:sldChg>
    </pc:docChg>
  </pc:docChgLst>
  <pc:docChgLst>
    <pc:chgData name="Joyce, Steven - DEN" userId="S::steven.joyce@flydenver.com::48d48c8e-7e89-49ad-8379-e2fd8b469b0f" providerId="AD" clId="Web-{DB418E87-09A2-C18F-7177-0049CEFD3CCB}"/>
    <pc:docChg chg="modSld">
      <pc:chgData name="Joyce, Steven - DEN" userId="S::steven.joyce@flydenver.com::48d48c8e-7e89-49ad-8379-e2fd8b469b0f" providerId="AD" clId="Web-{DB418E87-09A2-C18F-7177-0049CEFD3CCB}" dt="2026-06-11T18:33:37.988" v="18" actId="20577"/>
      <pc:docMkLst>
        <pc:docMk/>
      </pc:docMkLst>
      <pc:sldChg chg="modSp">
        <pc:chgData name="Joyce, Steven - DEN" userId="S::steven.joyce@flydenver.com::48d48c8e-7e89-49ad-8379-e2fd8b469b0f" providerId="AD" clId="Web-{DB418E87-09A2-C18F-7177-0049CEFD3CCB}" dt="2026-06-11T18:33:37.988" v="18" actId="20577"/>
        <pc:sldMkLst>
          <pc:docMk/>
          <pc:sldMk cId="1551388290" sldId="105352"/>
        </pc:sldMkLst>
        <pc:spChg chg="mod">
          <ac:chgData name="Joyce, Steven - DEN" userId="S::steven.joyce@flydenver.com::48d48c8e-7e89-49ad-8379-e2fd8b469b0f" providerId="AD" clId="Web-{DB418E87-09A2-C18F-7177-0049CEFD3CCB}" dt="2026-06-11T18:33:37.988" v="18" actId="20577"/>
          <ac:spMkLst>
            <pc:docMk/>
            <pc:sldMk cId="1551388290" sldId="105352"/>
            <ac:spMk id="12" creationId="{E9D3AA62-0F1A-0B3A-384A-39BDD98E95A7}"/>
          </ac:spMkLst>
        </pc:spChg>
      </pc:sldChg>
    </pc:docChg>
  </pc:docChgLst>
  <pc:docChgLst>
    <pc:chgData name="Zazueta, Luis - DEN" userId="S::luis.zazueta@flydenver.com::286f5a83-831e-4765-9659-7ec50832ae82" providerId="AD" clId="Web-{F929ADFE-F031-BE36-1361-95E8D11152D9}"/>
    <pc:docChg chg="sldOrd">
      <pc:chgData name="Zazueta, Luis - DEN" userId="S::luis.zazueta@flydenver.com::286f5a83-831e-4765-9659-7ec50832ae82" providerId="AD" clId="Web-{F929ADFE-F031-BE36-1361-95E8D11152D9}" dt="2026-06-10T22:00:02.597" v="0"/>
      <pc:docMkLst>
        <pc:docMk/>
      </pc:docMkLst>
      <pc:sldChg chg="ord">
        <pc:chgData name="Zazueta, Luis - DEN" userId="S::luis.zazueta@flydenver.com::286f5a83-831e-4765-9659-7ec50832ae82" providerId="AD" clId="Web-{F929ADFE-F031-BE36-1361-95E8D11152D9}" dt="2026-06-10T22:00:02.597" v="0"/>
        <pc:sldMkLst>
          <pc:docMk/>
          <pc:sldMk cId="3697653226" sldId="105351"/>
        </pc:sldMkLst>
      </pc:sldChg>
    </pc:docChg>
  </pc:docChgLst>
  <pc:docChgLst>
    <pc:chgData name="James, Cara - DEN" userId="S::cara.james@flydenver.com::1956f4b0-7e1b-43a2-af8b-59722a874e74" providerId="AD" clId="Web-{E5FC7F0D-D5AC-4D60-5E80-7E95E0A46B5A}"/>
    <pc:docChg chg="modSld">
      <pc:chgData name="James, Cara - DEN" userId="S::cara.james@flydenver.com::1956f4b0-7e1b-43a2-af8b-59722a874e74" providerId="AD" clId="Web-{E5FC7F0D-D5AC-4D60-5E80-7E95E0A46B5A}" dt="2026-06-10T16:27:51.845" v="32" actId="20577"/>
      <pc:docMkLst>
        <pc:docMk/>
      </pc:docMkLst>
      <pc:sldChg chg="modSp">
        <pc:chgData name="James, Cara - DEN" userId="S::cara.james@flydenver.com::1956f4b0-7e1b-43a2-af8b-59722a874e74" providerId="AD" clId="Web-{E5FC7F0D-D5AC-4D60-5E80-7E95E0A46B5A}" dt="2026-06-10T16:27:51.845" v="32" actId="20577"/>
        <pc:sldMkLst>
          <pc:docMk/>
          <pc:sldMk cId="3366343411" sldId="105264"/>
        </pc:sldMkLst>
        <pc:spChg chg="mod">
          <ac:chgData name="James, Cara - DEN" userId="S::cara.james@flydenver.com::1956f4b0-7e1b-43a2-af8b-59722a874e74" providerId="AD" clId="Web-{E5FC7F0D-D5AC-4D60-5E80-7E95E0A46B5A}" dt="2026-06-10T16:27:51.845" v="32" actId="20577"/>
          <ac:spMkLst>
            <pc:docMk/>
            <pc:sldMk cId="3366343411" sldId="105264"/>
            <ac:spMk id="3" creationId="{0D3BF9D1-8BCD-533E-63BA-1E4F781F8365}"/>
          </ac:spMkLst>
        </pc:spChg>
      </pc:sldChg>
    </pc:docChg>
  </pc:docChgLst>
  <pc:docChgLst>
    <pc:chgData name="Kelloms, Zach" userId="S::u402488_global.ual.com#ext#@flyden.onmicrosoft.com::08e36a0b-de19-454e-871a-948da1c620d4" providerId="AD" clId="Web-{A238BD8C-9E14-4F9F-9D2A-1C6E65FD4C8D}"/>
    <pc:docChg chg="modSld">
      <pc:chgData name="Kelloms, Zach" userId="S::u402488_global.ual.com#ext#@flyden.onmicrosoft.com::08e36a0b-de19-454e-871a-948da1c620d4" providerId="AD" clId="Web-{A238BD8C-9E14-4F9F-9D2A-1C6E65FD4C8D}" dt="2026-06-11T14:01:10.704" v="1" actId="1076"/>
      <pc:docMkLst>
        <pc:docMk/>
      </pc:docMkLst>
      <pc:sldChg chg="modSp">
        <pc:chgData name="Kelloms, Zach" userId="S::u402488_global.ual.com#ext#@flyden.onmicrosoft.com::08e36a0b-de19-454e-871a-948da1c620d4" providerId="AD" clId="Web-{A238BD8C-9E14-4F9F-9D2A-1C6E65FD4C8D}" dt="2026-06-11T14:01:10.704" v="1" actId="1076"/>
        <pc:sldMkLst>
          <pc:docMk/>
          <pc:sldMk cId="3928365746" sldId="2147483623"/>
        </pc:sldMkLst>
        <pc:spChg chg="mod">
          <ac:chgData name="Kelloms, Zach" userId="S::u402488_global.ual.com#ext#@flyden.onmicrosoft.com::08e36a0b-de19-454e-871a-948da1c620d4" providerId="AD" clId="Web-{A238BD8C-9E14-4F9F-9D2A-1C6E65FD4C8D}" dt="2026-06-11T14:01:10.704" v="1" actId="1076"/>
          <ac:spMkLst>
            <pc:docMk/>
            <pc:sldMk cId="3928365746" sldId="2147483623"/>
            <ac:spMk id="4" creationId="{41DA913B-FC80-7C6E-322E-C4769BA93BD9}"/>
          </ac:spMkLst>
        </pc:spChg>
      </pc:sldChg>
    </pc:docChg>
  </pc:docChgLst>
  <pc:docChgLst>
    <pc:chgData name="Russell, Steven - DEN" userId="S::steven.russell@flydenver.com::1db741e6-cb06-447d-be84-b8104b947232" providerId="AD" clId="Web-{0385F5CD-75F1-59B3-7441-B052DCC8360D}"/>
    <pc:docChg chg="sldOrd">
      <pc:chgData name="Russell, Steven - DEN" userId="S::steven.russell@flydenver.com::1db741e6-cb06-447d-be84-b8104b947232" providerId="AD" clId="Web-{0385F5CD-75F1-59B3-7441-B052DCC8360D}" dt="2026-06-11T19:00:20.352" v="0"/>
      <pc:docMkLst>
        <pc:docMk/>
      </pc:docMkLst>
      <pc:sldChg chg="ord">
        <pc:chgData name="Russell, Steven - DEN" userId="S::steven.russell@flydenver.com::1db741e6-cb06-447d-be84-b8104b947232" providerId="AD" clId="Web-{0385F5CD-75F1-59B3-7441-B052DCC8360D}" dt="2026-06-11T19:00:20.352" v="0"/>
        <pc:sldMkLst>
          <pc:docMk/>
          <pc:sldMk cId="375540658" sldId="105225"/>
        </pc:sldMkLst>
      </pc:sldChg>
    </pc:docChg>
  </pc:docChgLst>
  <pc:docChgLst>
    <pc:chgData name="Gomez-Peterson, Matthew - DEN" userId="S::matthew.gomez-peterson@flydenver.com::eb7662e1-90d0-4de7-91a1-5505aba9a3a8" providerId="AD" clId="Web-{6AFF38D6-2213-2352-40E4-E994E948EDB4}"/>
    <pc:docChg chg="modSld">
      <pc:chgData name="Gomez-Peterson, Matthew - DEN" userId="S::matthew.gomez-peterson@flydenver.com::eb7662e1-90d0-4de7-91a1-5505aba9a3a8" providerId="AD" clId="Web-{6AFF38D6-2213-2352-40E4-E994E948EDB4}" dt="2026-06-10T17:46:39.123" v="2" actId="20577"/>
      <pc:docMkLst>
        <pc:docMk/>
      </pc:docMkLst>
      <pc:sldChg chg="modSp">
        <pc:chgData name="Gomez-Peterson, Matthew - DEN" userId="S::matthew.gomez-peterson@flydenver.com::eb7662e1-90d0-4de7-91a1-5505aba9a3a8" providerId="AD" clId="Web-{6AFF38D6-2213-2352-40E4-E994E948EDB4}" dt="2026-06-10T17:46:39.123" v="2" actId="20577"/>
        <pc:sldMkLst>
          <pc:docMk/>
          <pc:sldMk cId="3697653226" sldId="105351"/>
        </pc:sldMkLst>
        <pc:spChg chg="mod">
          <ac:chgData name="Gomez-Peterson, Matthew - DEN" userId="S::matthew.gomez-peterson@flydenver.com::eb7662e1-90d0-4de7-91a1-5505aba9a3a8" providerId="AD" clId="Web-{6AFF38D6-2213-2352-40E4-E994E948EDB4}" dt="2026-06-10T17:46:39.123" v="2" actId="20577"/>
          <ac:spMkLst>
            <pc:docMk/>
            <pc:sldMk cId="3697653226" sldId="105351"/>
            <ac:spMk id="3" creationId="{933D787F-EA06-8600-48A2-BE172F6F2351}"/>
          </ac:spMkLst>
        </pc:spChg>
      </pc:sldChg>
    </pc:docChg>
  </pc:docChgLst>
  <pc:docChgLst>
    <pc:chgData name="Elliott, Alisha - DEN" userId="S::alisha.elliott@flydenver.com::5030ebc2-f84e-4ecf-b88f-8ad527864d90" providerId="AD" clId="Web-{F3AC4D12-F330-269B-E6DF-A94AADF4C30A}"/>
    <pc:docChg chg="modSld">
      <pc:chgData name="Elliott, Alisha - DEN" userId="S::alisha.elliott@flydenver.com::5030ebc2-f84e-4ecf-b88f-8ad527864d90" providerId="AD" clId="Web-{F3AC4D12-F330-269B-E6DF-A94AADF4C30A}" dt="2026-06-11T13:08:20.573" v="16" actId="20577"/>
      <pc:docMkLst>
        <pc:docMk/>
      </pc:docMkLst>
      <pc:sldChg chg="modSp">
        <pc:chgData name="Elliott, Alisha - DEN" userId="S::alisha.elliott@flydenver.com::5030ebc2-f84e-4ecf-b88f-8ad527864d90" providerId="AD" clId="Web-{F3AC4D12-F330-269B-E6DF-A94AADF4C30A}" dt="2026-06-11T13:04:37.104" v="2" actId="20577"/>
        <pc:sldMkLst>
          <pc:docMk/>
          <pc:sldMk cId="66050245" sldId="105102"/>
        </pc:sldMkLst>
        <pc:spChg chg="mod">
          <ac:chgData name="Elliott, Alisha - DEN" userId="S::alisha.elliott@flydenver.com::5030ebc2-f84e-4ecf-b88f-8ad527864d90" providerId="AD" clId="Web-{F3AC4D12-F330-269B-E6DF-A94AADF4C30A}" dt="2026-06-11T13:04:37.104" v="2" actId="20577"/>
          <ac:spMkLst>
            <pc:docMk/>
            <pc:sldMk cId="66050245" sldId="105102"/>
            <ac:spMk id="3" creationId="{382E8DDD-05C7-168B-9D55-290965101779}"/>
          </ac:spMkLst>
        </pc:spChg>
      </pc:sldChg>
      <pc:sldChg chg="modSp">
        <pc:chgData name="Elliott, Alisha - DEN" userId="S::alisha.elliott@flydenver.com::5030ebc2-f84e-4ecf-b88f-8ad527864d90" providerId="AD" clId="Web-{F3AC4D12-F330-269B-E6DF-A94AADF4C30A}" dt="2026-06-11T13:08:20.573" v="16" actId="20577"/>
        <pc:sldMkLst>
          <pc:docMk/>
          <pc:sldMk cId="3366343411" sldId="105264"/>
        </pc:sldMkLst>
        <pc:spChg chg="mod">
          <ac:chgData name="Elliott, Alisha - DEN" userId="S::alisha.elliott@flydenver.com::5030ebc2-f84e-4ecf-b88f-8ad527864d90" providerId="AD" clId="Web-{F3AC4D12-F330-269B-E6DF-A94AADF4C30A}" dt="2026-06-11T13:08:20.573" v="16" actId="20577"/>
          <ac:spMkLst>
            <pc:docMk/>
            <pc:sldMk cId="3366343411" sldId="105264"/>
            <ac:spMk id="3" creationId="{0D3BF9D1-8BCD-533E-63BA-1E4F781F8365}"/>
          </ac:spMkLst>
        </pc:spChg>
      </pc:sldChg>
      <pc:sldChg chg="modSp">
        <pc:chgData name="Elliott, Alisha - DEN" userId="S::alisha.elliott@flydenver.com::5030ebc2-f84e-4ecf-b88f-8ad527864d90" providerId="AD" clId="Web-{F3AC4D12-F330-269B-E6DF-A94AADF4C30A}" dt="2026-06-11T13:06:57.760" v="12" actId="20577"/>
        <pc:sldMkLst>
          <pc:docMk/>
          <pc:sldMk cId="1723211621" sldId="105286"/>
        </pc:sldMkLst>
        <pc:spChg chg="mod">
          <ac:chgData name="Elliott, Alisha - DEN" userId="S::alisha.elliott@flydenver.com::5030ebc2-f84e-4ecf-b88f-8ad527864d90" providerId="AD" clId="Web-{F3AC4D12-F330-269B-E6DF-A94AADF4C30A}" dt="2026-06-11T13:06:57.760" v="12" actId="20577"/>
          <ac:spMkLst>
            <pc:docMk/>
            <pc:sldMk cId="1723211621" sldId="105286"/>
            <ac:spMk id="3" creationId="{E9BD6912-F601-95F2-743B-BFF1B9727F23}"/>
          </ac:spMkLst>
        </pc:spChg>
      </pc:sldChg>
      <pc:sldChg chg="modSp">
        <pc:chgData name="Elliott, Alisha - DEN" userId="S::alisha.elliott@flydenver.com::5030ebc2-f84e-4ecf-b88f-8ad527864d90" providerId="AD" clId="Web-{F3AC4D12-F330-269B-E6DF-A94AADF4C30A}" dt="2026-06-11T13:05:30.635" v="10" actId="20577"/>
        <pc:sldMkLst>
          <pc:docMk/>
          <pc:sldMk cId="1681432001" sldId="105343"/>
        </pc:sldMkLst>
        <pc:spChg chg="mod">
          <ac:chgData name="Elliott, Alisha - DEN" userId="S::alisha.elliott@flydenver.com::5030ebc2-f84e-4ecf-b88f-8ad527864d90" providerId="AD" clId="Web-{F3AC4D12-F330-269B-E6DF-A94AADF4C30A}" dt="2026-06-11T13:05:30.635" v="10" actId="20577"/>
          <ac:spMkLst>
            <pc:docMk/>
            <pc:sldMk cId="1681432001" sldId="105343"/>
            <ac:spMk id="3" creationId="{A60D489F-BBAB-A646-75EB-D967D3421E2D}"/>
          </ac:spMkLst>
        </pc:spChg>
      </pc:sldChg>
      <pc:sldChg chg="modSp">
        <pc:chgData name="Elliott, Alisha - DEN" userId="S::alisha.elliott@flydenver.com::5030ebc2-f84e-4ecf-b88f-8ad527864d90" providerId="AD" clId="Web-{F3AC4D12-F330-269B-E6DF-A94AADF4C30A}" dt="2026-06-11T13:04:55.010" v="6" actId="20577"/>
        <pc:sldMkLst>
          <pc:docMk/>
          <pc:sldMk cId="1730595985" sldId="105344"/>
        </pc:sldMkLst>
        <pc:spChg chg="mod">
          <ac:chgData name="Elliott, Alisha - DEN" userId="S::alisha.elliott@flydenver.com::5030ebc2-f84e-4ecf-b88f-8ad527864d90" providerId="AD" clId="Web-{F3AC4D12-F330-269B-E6DF-A94AADF4C30A}" dt="2026-06-11T13:04:55.010" v="6" actId="20577"/>
          <ac:spMkLst>
            <pc:docMk/>
            <pc:sldMk cId="1730595985" sldId="105344"/>
            <ac:spMk id="3" creationId="{8196C269-676F-DFB0-D9D4-0F5CCB6E0F51}"/>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33BF5EE2-77E8-9243-85B9-60D6C86923AE}" type="datetimeFigureOut">
              <a:rPr lang="en-US" smtClean="0"/>
              <a:t>6/17/2026</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A399344F-1846-964E-A23F-F797EB56DD37}" type="slidenum">
              <a:rPr lang="en-US" smtClean="0"/>
              <a:t>‹#›</a:t>
            </a:fld>
            <a:endParaRPr lang="en-US"/>
          </a:p>
        </p:txBody>
      </p:sp>
    </p:spTree>
    <p:extLst>
      <p:ext uri="{BB962C8B-B14F-4D97-AF65-F5344CB8AC3E}">
        <p14:creationId xmlns:p14="http://schemas.microsoft.com/office/powerpoint/2010/main" val="35430324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tx1"/>
                </a:solidFill>
                <a:effectLst/>
                <a:latin typeface="+mn-lt"/>
                <a:ea typeface="+mn-ea"/>
                <a:cs typeface="+mn-cs"/>
              </a:rPr>
              <a:t>Good afternoon, everyone, and welcome to </a:t>
            </a:r>
            <a:r>
              <a:rPr lang="en-US" sz="1200" b="1" i="0" kern="1200">
                <a:solidFill>
                  <a:schemeClr val="tx1"/>
                </a:solidFill>
                <a:effectLst/>
                <a:latin typeface="+mn-lt"/>
                <a:ea typeface="+mn-ea"/>
                <a:cs typeface="+mn-cs"/>
              </a:rPr>
              <a:t>Taking Flight at DEN</a:t>
            </a:r>
            <a:r>
              <a:rPr lang="en-US" sz="1200" b="0" i="0" kern="120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a:solidFill>
                  <a:srgbClr val="4B5563"/>
                </a:solidFill>
              </a:rPr>
              <a:t>My name is Nicole Rodriguez, Outreach Administrator here at DE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a:solidFill>
                <a:srgbClr val="4B5563"/>
              </a:solidFill>
            </a:endParaRPr>
          </a:p>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We’re here to help you learn about upcoming opportunities and make connections to key DEN staff. Here’s today’s agenda. &lt;&lt;Next Slide&gt;&gt;</a:t>
            </a:r>
          </a:p>
          <a:p>
            <a:pPr fontAlgn="t"/>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a:p>
        </p:txBody>
      </p:sp>
      <p:sp>
        <p:nvSpPr>
          <p:cNvPr id="4" name="Slide Number Placeholder 3"/>
          <p:cNvSpPr>
            <a:spLocks noGrp="1"/>
          </p:cNvSpPr>
          <p:nvPr>
            <p:ph type="sldNum" sz="quarter" idx="5"/>
          </p:nvPr>
        </p:nvSpPr>
        <p:spPr/>
        <p:txBody>
          <a:bodyPr/>
          <a:lstStyle/>
          <a:p>
            <a:pPr defTabSz="933237">
              <a:defRPr/>
            </a:pPr>
            <a:fld id="{A399344F-1846-964E-A23F-F797EB56DD37}" type="slidenum">
              <a:rPr lang="en-US">
                <a:solidFill>
                  <a:prstClr val="black"/>
                </a:solidFill>
                <a:latin typeface="Calibri" panose="020F0502020204030204"/>
              </a:rPr>
              <a:pPr defTabSz="933237">
                <a:defRPr/>
              </a:pPr>
              <a:t>1</a:t>
            </a:fld>
            <a:endParaRPr lang="en-US">
              <a:solidFill>
                <a:prstClr val="black"/>
              </a:solidFill>
              <a:latin typeface="Calibri" panose="020F0502020204030204"/>
            </a:endParaRPr>
          </a:p>
        </p:txBody>
      </p:sp>
    </p:spTree>
    <p:extLst>
      <p:ext uri="{BB962C8B-B14F-4D97-AF65-F5344CB8AC3E}">
        <p14:creationId xmlns:p14="http://schemas.microsoft.com/office/powerpoint/2010/main" val="4569998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AE919C-1D14-87AE-C036-121D53C3E7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AB6247-F16C-5646-9C35-9BE67E88C48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7A82573-4266-58E5-2001-77F168A51691}"/>
              </a:ext>
            </a:extLst>
          </p:cNvPr>
          <p:cNvSpPr>
            <a:spLocks noGrp="1"/>
          </p:cNvSpPr>
          <p:nvPr>
            <p:ph type="body" idx="1"/>
          </p:nvPr>
        </p:nvSpPr>
        <p:spPr/>
        <p:txBody>
          <a:bodyPr/>
          <a:lstStyle/>
          <a:p>
            <a:pPr fontAlgn="t"/>
            <a:r>
              <a:rPr lang="en-US" sz="1200" b="0" i="0" kern="1200">
                <a:solidFill>
                  <a:schemeClr val="tx1"/>
                </a:solidFill>
                <a:effectLst/>
                <a:latin typeface="+mn-lt"/>
                <a:ea typeface="+mn-ea"/>
                <a:cs typeface="+mn-cs"/>
              </a:rPr>
              <a:t>If you missed the submission date, there is still time to submit your ACDBE reevaluation. </a:t>
            </a:r>
          </a:p>
          <a:p>
            <a:pPr fontAlgn="t"/>
            <a:endParaRPr lang="en-US" sz="1200" b="0" i="0" kern="1200">
              <a:solidFill>
                <a:schemeClr val="tx1"/>
              </a:solidFill>
              <a:effectLst/>
              <a:latin typeface="+mn-lt"/>
              <a:ea typeface="+mn-ea"/>
              <a:cs typeface="+mn-cs"/>
            </a:endParaRPr>
          </a:p>
          <a:p>
            <a:pPr fontAlgn="t"/>
            <a:r>
              <a:rPr lang="en-US" sz="1200" b="0" i="0" kern="1200">
                <a:solidFill>
                  <a:schemeClr val="tx1"/>
                </a:solidFill>
                <a:effectLst/>
                <a:latin typeface="+mn-lt"/>
                <a:ea typeface="+mn-ea"/>
                <a:cs typeface="+mn-cs"/>
              </a:rPr>
              <a:t>You’ll need a Personal Narrative and Personal Net Worth statement for each qualifying owner, and everything must be submitted through B2G</a:t>
            </a:r>
          </a:p>
          <a:p>
            <a:pPr fontAlgn="t"/>
            <a:endParaRPr lang="en-US" sz="1200" b="0" i="0" kern="1200">
              <a:solidFill>
                <a:schemeClr val="tx1"/>
              </a:solidFill>
              <a:effectLst/>
              <a:latin typeface="+mn-lt"/>
              <a:ea typeface="+mn-ea"/>
              <a:cs typeface="+mn-cs"/>
            </a:endParaRPr>
          </a:p>
          <a:p>
            <a:pPr fontAlgn="t"/>
            <a:r>
              <a:rPr lang="en-US" sz="1200" b="0" i="0" kern="1200">
                <a:solidFill>
                  <a:schemeClr val="tx1"/>
                </a:solidFill>
                <a:effectLst/>
                <a:latin typeface="+mn-lt"/>
                <a:ea typeface="+mn-ea"/>
                <a:cs typeface="+mn-cs"/>
              </a:rPr>
              <a:t>Let’s continue with our upcoming event highlights &lt;&lt;Next Slide&gt;&gt;</a:t>
            </a:r>
          </a:p>
          <a:p>
            <a:pPr fontAlgn="t"/>
            <a:endParaRPr lang="en-US" sz="1200" b="0" i="0" kern="1200">
              <a:solidFill>
                <a:schemeClr val="tx1"/>
              </a:solidFill>
              <a:effectLst/>
              <a:latin typeface="+mn-lt"/>
              <a:ea typeface="+mn-ea"/>
              <a:cs typeface="+mn-cs"/>
            </a:endParaRPr>
          </a:p>
          <a:p>
            <a:endParaRPr lang="en-US"/>
          </a:p>
          <a:p>
            <a:endParaRPr lang="en-US"/>
          </a:p>
          <a:p>
            <a:endParaRPr lang="en-US"/>
          </a:p>
        </p:txBody>
      </p:sp>
      <p:sp>
        <p:nvSpPr>
          <p:cNvPr id="4" name="Slide Number Placeholder 3">
            <a:extLst>
              <a:ext uri="{FF2B5EF4-FFF2-40B4-BE49-F238E27FC236}">
                <a16:creationId xmlns:a16="http://schemas.microsoft.com/office/drawing/2014/main" id="{5DCDC5B2-1B48-E6A7-57F3-54B5399F2B5E}"/>
              </a:ext>
            </a:extLst>
          </p:cNvPr>
          <p:cNvSpPr>
            <a:spLocks noGrp="1"/>
          </p:cNvSpPr>
          <p:nvPr>
            <p:ph type="sldNum" sz="quarter" idx="5"/>
          </p:nvPr>
        </p:nvSpPr>
        <p:spPr/>
        <p:txBody>
          <a:bodyPr/>
          <a:lstStyle/>
          <a:p>
            <a:fld id="{A399344F-1846-964E-A23F-F797EB56DD37}" type="slidenum">
              <a:rPr lang="en-US" smtClean="0"/>
              <a:t>10</a:t>
            </a:fld>
            <a:endParaRPr lang="en-US"/>
          </a:p>
        </p:txBody>
      </p:sp>
    </p:spTree>
    <p:extLst>
      <p:ext uri="{BB962C8B-B14F-4D97-AF65-F5344CB8AC3E}">
        <p14:creationId xmlns:p14="http://schemas.microsoft.com/office/powerpoint/2010/main" val="12649027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And later in the year, we bring even more partners together at our annual Procurement Tradeshow. This is one of the best chances to meet DEN contractors and learn about upcoming work.</a:t>
            </a:r>
            <a:endParaRPr lang="en-US" sz="1200" b="1" i="0" kern="1200">
              <a:solidFill>
                <a:schemeClr val="tx1"/>
              </a:solidFill>
              <a:effectLst/>
              <a:latin typeface="+mn-lt"/>
              <a:ea typeface="+mn-ea"/>
              <a:cs typeface="+mn-cs"/>
            </a:endParaRPr>
          </a:p>
          <a:p>
            <a:pPr fontAlgn="t"/>
            <a:endParaRPr lang="en-US" sz="1200" b="1" i="0" kern="1200">
              <a:solidFill>
                <a:schemeClr val="tx1"/>
              </a:solidFill>
              <a:effectLst/>
              <a:latin typeface="+mn-lt"/>
              <a:ea typeface="+mn-ea"/>
              <a:cs typeface="+mn-cs"/>
            </a:endParaRPr>
          </a:p>
          <a:p>
            <a:pPr fontAlgn="t"/>
            <a:r>
              <a:rPr lang="en-US" sz="1200" b="1" i="0" kern="1200">
                <a:solidFill>
                  <a:schemeClr val="tx1"/>
                </a:solidFill>
                <a:effectLst/>
                <a:latin typeface="+mn-lt"/>
                <a:ea typeface="+mn-ea"/>
                <a:cs typeface="+mn-cs"/>
              </a:rPr>
              <a:t>Save the date </a:t>
            </a:r>
            <a:r>
              <a:rPr lang="en-US" sz="1200" b="0" i="0" kern="1200">
                <a:solidFill>
                  <a:schemeClr val="tx1"/>
                </a:solidFill>
                <a:effectLst/>
                <a:latin typeface="+mn-lt"/>
                <a:ea typeface="+mn-ea"/>
                <a:cs typeface="+mn-cs"/>
              </a:rPr>
              <a:t>— August 20, 2026! Join us to connect with DEN contractors and partners. </a:t>
            </a:r>
          </a:p>
          <a:p>
            <a:pPr fontAlgn="t"/>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A399344F-1846-964E-A23F-F797EB56DD37}" type="slidenum">
              <a:rPr lang="en-US" smtClean="0"/>
              <a:t>11</a:t>
            </a:fld>
            <a:endParaRPr lang="en-US"/>
          </a:p>
        </p:txBody>
      </p:sp>
    </p:spTree>
    <p:extLst>
      <p:ext uri="{BB962C8B-B14F-4D97-AF65-F5344CB8AC3E}">
        <p14:creationId xmlns:p14="http://schemas.microsoft.com/office/powerpoint/2010/main" val="1224566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FD4B18ED-E1DF-48BA-B4C4-EEB0560DADA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 name="Notes Placeholder 2">
            <a:extLst>
              <a:ext uri="{FF2B5EF4-FFF2-40B4-BE49-F238E27FC236}">
                <a16:creationId xmlns:a16="http://schemas.microsoft.com/office/drawing/2014/main" id="{2B60A4F6-A9E4-4B64-AF1E-1B166DF505B0}"/>
              </a:ext>
            </a:extLst>
          </p:cNvPr>
          <p:cNvSpPr>
            <a:spLocks noGrp="1"/>
          </p:cNvSpPr>
          <p:nvPr>
            <p:ph type="body" idx="1"/>
          </p:nvPr>
        </p:nvSpPr>
        <p:spPr/>
        <p:txBody>
          <a:bodyPr/>
          <a:lstStyle/>
          <a:p>
            <a:pPr fontAlgn="t"/>
            <a:r>
              <a:rPr lang="en-US" sz="1200" b="0" i="0" kern="1200">
                <a:solidFill>
                  <a:schemeClr val="tx1"/>
                </a:solidFill>
                <a:effectLst/>
                <a:latin typeface="+mn-lt"/>
                <a:ea typeface="+mn-ea"/>
                <a:cs typeface="+mn-cs"/>
              </a:rPr>
              <a:t>Alongside our outreach and networking events, we also offer a way for community members to get directly involved in the procurement process. One of the best ways to do that is through our Community Panelist Program.</a:t>
            </a:r>
          </a:p>
          <a:p>
            <a:pPr fontAlgn="t"/>
            <a:endParaRPr lang="en-US" sz="1200" b="0" i="0" kern="1200">
              <a:solidFill>
                <a:schemeClr val="tx1"/>
              </a:solidFill>
              <a:effectLst/>
              <a:latin typeface="+mn-lt"/>
              <a:ea typeface="+mn-ea"/>
              <a:cs typeface="+mn-cs"/>
            </a:endParaRPr>
          </a:p>
          <a:p>
            <a:pPr fontAlgn="t"/>
            <a:r>
              <a:rPr lang="en-US" sz="1200" b="0" i="0" kern="1200">
                <a:solidFill>
                  <a:schemeClr val="tx1"/>
                </a:solidFill>
                <a:effectLst/>
                <a:latin typeface="+mn-lt"/>
                <a:ea typeface="+mn-ea"/>
                <a:cs typeface="+mn-cs"/>
              </a:rPr>
              <a:t>Scan the QR code if you’d like to volunteer and to learn more.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200">
              <a:effectLst/>
              <a:latin typeface="+mn-lt"/>
              <a:ea typeface="Times New Roman" panose="02020603050405020304" pitchFamily="18" charset="0"/>
              <a:cs typeface="Times New Roman" panose="02020603050405020304" pitchFamily="18"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tt/</a:t>
            </a:r>
            <a:r>
              <a:rPr lang="en-US" err="1"/>
              <a:t>Matahji</a:t>
            </a:r>
            <a:r>
              <a:rPr lang="en-US"/>
              <a:t> </a:t>
            </a:r>
          </a:p>
          <a:p>
            <a:endParaRPr lang="en-US" sz="1200" b="0" i="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399344F-1846-964E-A23F-F797EB56DD37}" type="slidenum">
              <a:rPr lang="en-US" smtClean="0"/>
              <a:t>13</a:t>
            </a:fld>
            <a:endParaRPr lang="en-US"/>
          </a:p>
        </p:txBody>
      </p:sp>
    </p:spTree>
    <p:extLst>
      <p:ext uri="{BB962C8B-B14F-4D97-AF65-F5344CB8AC3E}">
        <p14:creationId xmlns:p14="http://schemas.microsoft.com/office/powerpoint/2010/main" val="37361226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The Citywide Mentor-Protégé Program is designed to develop long term business relationships between established prime contractors, certified small firms and city agencies. This program is driven by the overarching mission of encouraging the city’s utilization of certified small firms on city professional services, construction, good and service projects.</a:t>
            </a:r>
          </a:p>
          <a:p>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A399344F-1846-964E-A23F-F797EB56DD37}" type="slidenum">
              <a:rPr lang="en-US" smtClean="0"/>
              <a:t>14</a:t>
            </a:fld>
            <a:endParaRPr lang="en-US"/>
          </a:p>
        </p:txBody>
      </p:sp>
    </p:spTree>
    <p:extLst>
      <p:ext uri="{BB962C8B-B14F-4D97-AF65-F5344CB8AC3E}">
        <p14:creationId xmlns:p14="http://schemas.microsoft.com/office/powerpoint/2010/main" val="19535842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fontAlgn="t"/>
            <a:r>
              <a:rPr lang="en-US" sz="1200" b="0" i="0" kern="1200">
                <a:solidFill>
                  <a:schemeClr val="tx1"/>
                </a:solidFill>
                <a:effectLst/>
                <a:latin typeface="+mn-lt"/>
                <a:ea typeface="+mn-ea"/>
                <a:cs typeface="+mn-cs"/>
              </a:rPr>
              <a:t>This presentation highlights early‑stage opportunities, and details may change as projects develop. Everything shared today is preliminary</a:t>
            </a:r>
          </a:p>
          <a:p>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With that in mind, let’s look at how DEN is preparing for the future.</a:t>
            </a:r>
          </a:p>
          <a:p>
            <a:endParaRPr lang="en-US"/>
          </a:p>
        </p:txBody>
      </p:sp>
      <p:sp>
        <p:nvSpPr>
          <p:cNvPr id="4" name="Slide Number Placeholder 3"/>
          <p:cNvSpPr>
            <a:spLocks noGrp="1"/>
          </p:cNvSpPr>
          <p:nvPr>
            <p:ph type="sldNum" sz="quarter" idx="5"/>
          </p:nvPr>
        </p:nvSpPr>
        <p:spPr/>
        <p:txBody>
          <a:bodyPr/>
          <a:lstStyle/>
          <a:p>
            <a:fld id="{A399344F-1846-964E-A23F-F797EB56DD37}" type="slidenum">
              <a:rPr lang="en-US" smtClean="0"/>
              <a:t>15</a:t>
            </a:fld>
            <a:endParaRPr lang="en-US"/>
          </a:p>
        </p:txBody>
      </p:sp>
    </p:spTree>
    <p:extLst>
      <p:ext uri="{BB962C8B-B14F-4D97-AF65-F5344CB8AC3E}">
        <p14:creationId xmlns:p14="http://schemas.microsoft.com/office/powerpoint/2010/main" val="13563512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fontAlgn="t"/>
            <a:r>
              <a:rPr lang="en-US" sz="1200" b="0" i="0" kern="1200">
                <a:solidFill>
                  <a:schemeClr val="tx1"/>
                </a:solidFill>
                <a:effectLst/>
                <a:latin typeface="+mn-lt"/>
                <a:ea typeface="+mn-ea"/>
                <a:cs typeface="+mn-cs"/>
              </a:rPr>
              <a:t>Our website lists procurement opportunities at various stages, and details may change as projects develop. </a:t>
            </a:r>
          </a:p>
          <a:p>
            <a:pPr fontAlgn="t"/>
            <a:endParaRPr lang="en-US" sz="1200" b="0" i="0" kern="1200">
              <a:solidFill>
                <a:schemeClr val="tx1"/>
              </a:solidFill>
              <a:effectLst/>
              <a:latin typeface="+mn-lt"/>
              <a:ea typeface="+mn-ea"/>
              <a:cs typeface="+mn-cs"/>
            </a:endParaRPr>
          </a:p>
          <a:p>
            <a:pPr fontAlgn="t"/>
            <a:r>
              <a:rPr lang="en-US" sz="1200" b="0" i="0" kern="1200">
                <a:solidFill>
                  <a:schemeClr val="tx1"/>
                </a:solidFill>
                <a:effectLst/>
                <a:latin typeface="+mn-lt"/>
                <a:ea typeface="+mn-ea"/>
                <a:cs typeface="+mn-cs"/>
              </a:rPr>
              <a:t>The City and County of Denver can modify or cancel projects at any time</a:t>
            </a:r>
          </a:p>
          <a:p>
            <a:pPr defTabSz="699927">
              <a:defRPr/>
            </a:pPr>
            <a:endParaRPr lang="en-US" b="0" i="0">
              <a:solidFill>
                <a:srgbClr val="1C1C1C"/>
              </a:solidFill>
              <a:effectLst/>
              <a:latin typeface="Inter"/>
            </a:endParaRPr>
          </a:p>
          <a:p>
            <a:pPr defTabSz="699927">
              <a:defRPr/>
            </a:pPr>
            <a:r>
              <a:rPr lang="en-US" b="0" i="0">
                <a:solidFill>
                  <a:srgbClr val="1C1C1C"/>
                </a:solidFill>
                <a:effectLst/>
                <a:latin typeface="Inter"/>
              </a:rPr>
              <a:t>Now, we'll hand it over to our project managers.</a:t>
            </a:r>
            <a:endParaRPr lang="en-US" b="1">
              <a:ea typeface="Calibri"/>
              <a:cs typeface="Calibri"/>
            </a:endParaRPr>
          </a:p>
        </p:txBody>
      </p:sp>
    </p:spTree>
    <p:extLst>
      <p:ext uri="{BB962C8B-B14F-4D97-AF65-F5344CB8AC3E}">
        <p14:creationId xmlns:p14="http://schemas.microsoft.com/office/powerpoint/2010/main" val="41110870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E8922A-02D7-6E42-1348-DEFF6EDC93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4B696C-E26C-C442-C656-07BFEDDFA65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A92EFDB-E7DA-98D7-9C7B-2563FB042352}"/>
              </a:ext>
            </a:extLst>
          </p:cNvPr>
          <p:cNvSpPr>
            <a:spLocks noGrp="1"/>
          </p:cNvSpPr>
          <p:nvPr>
            <p:ph type="body" idx="1"/>
          </p:nvPr>
        </p:nvSpPr>
        <p:spPr/>
        <p:txBody>
          <a:bodyPr/>
          <a:lstStyle/>
          <a:p>
            <a:pPr defTabSz="933237">
              <a:defRPr/>
            </a:pPr>
            <a:r>
              <a:rPr lang="en-US" b="1"/>
              <a:t>45- 60 Seconds Max</a:t>
            </a:r>
          </a:p>
          <a:p>
            <a:pPr>
              <a:buNone/>
            </a:pPr>
            <a:endParaRPr lang="en-US"/>
          </a:p>
        </p:txBody>
      </p:sp>
      <p:sp>
        <p:nvSpPr>
          <p:cNvPr id="4" name="Slide Number Placeholder 3">
            <a:extLst>
              <a:ext uri="{FF2B5EF4-FFF2-40B4-BE49-F238E27FC236}">
                <a16:creationId xmlns:a16="http://schemas.microsoft.com/office/drawing/2014/main" id="{8902A35A-724F-9C49-2F97-EAFBE7AE00C4}"/>
              </a:ext>
            </a:extLst>
          </p:cNvPr>
          <p:cNvSpPr>
            <a:spLocks noGrp="1"/>
          </p:cNvSpPr>
          <p:nvPr>
            <p:ph type="sldNum" sz="quarter" idx="5"/>
          </p:nvPr>
        </p:nvSpPr>
        <p:spPr/>
        <p:txBody>
          <a:bodyPr/>
          <a:lstStyle/>
          <a:p>
            <a:pPr defTabSz="933237">
              <a:defRPr/>
            </a:pPr>
            <a:fld id="{A399344F-1846-964E-A23F-F797EB56DD37}" type="slidenum">
              <a:rPr lang="en-US">
                <a:solidFill>
                  <a:prstClr val="black"/>
                </a:solidFill>
                <a:latin typeface="Calibri" panose="020F0502020204030204"/>
              </a:rPr>
              <a:pPr defTabSz="933237">
                <a:defRPr/>
              </a:pPr>
              <a:t>18</a:t>
            </a:fld>
            <a:endParaRPr lang="en-US">
              <a:solidFill>
                <a:prstClr val="black"/>
              </a:solidFill>
              <a:latin typeface="Calibri" panose="020F0502020204030204"/>
            </a:endParaRPr>
          </a:p>
        </p:txBody>
      </p:sp>
    </p:spTree>
    <p:extLst>
      <p:ext uri="{BB962C8B-B14F-4D97-AF65-F5344CB8AC3E}">
        <p14:creationId xmlns:p14="http://schemas.microsoft.com/office/powerpoint/2010/main" val="2033813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47FB13-AE89-AFF1-2A83-2354980395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89C549-EE81-D7CB-69E6-A724F64724E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933F9CC-CE6C-E8B2-81CC-208569153CF7}"/>
              </a:ext>
            </a:extLst>
          </p:cNvPr>
          <p:cNvSpPr>
            <a:spLocks noGrp="1"/>
          </p:cNvSpPr>
          <p:nvPr>
            <p:ph type="body" idx="1"/>
          </p:nvPr>
        </p:nvSpPr>
        <p:spPr/>
        <p:txBody>
          <a:bodyPr/>
          <a:lstStyle/>
          <a:p>
            <a:pPr defTabSz="933237">
              <a:defRPr/>
            </a:pPr>
            <a:r>
              <a:rPr lang="en-US" b="1"/>
              <a:t>45- 60 Seconds Max</a:t>
            </a:r>
          </a:p>
          <a:p>
            <a:pPr>
              <a:buNone/>
            </a:pPr>
            <a:endParaRPr lang="en-US"/>
          </a:p>
        </p:txBody>
      </p:sp>
      <p:sp>
        <p:nvSpPr>
          <p:cNvPr id="4" name="Slide Number Placeholder 3">
            <a:extLst>
              <a:ext uri="{FF2B5EF4-FFF2-40B4-BE49-F238E27FC236}">
                <a16:creationId xmlns:a16="http://schemas.microsoft.com/office/drawing/2014/main" id="{985CF11C-0219-D144-9522-19A13AD4863E}"/>
              </a:ext>
            </a:extLst>
          </p:cNvPr>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A399344F-1846-964E-A23F-F797EB56DD3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1841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1E032-B596-CFCF-A2B5-38CF9E07A2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A4603B-BB31-A9BD-1A65-FBC7E1C53D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9496B5-F400-AF0E-9C9B-E18A52BC5455}"/>
              </a:ext>
            </a:extLst>
          </p:cNvPr>
          <p:cNvSpPr>
            <a:spLocks noGrp="1"/>
          </p:cNvSpPr>
          <p:nvPr>
            <p:ph type="body" idx="1"/>
          </p:nvPr>
        </p:nvSpPr>
        <p:spPr/>
        <p:txBody>
          <a:bodyPr/>
          <a:lstStyle/>
          <a:p>
            <a:pPr>
              <a:buNone/>
            </a:pPr>
            <a:r>
              <a:rPr lang="en-US" b="1"/>
              <a:t>45- 60 Seconds Max</a:t>
            </a:r>
          </a:p>
        </p:txBody>
      </p:sp>
      <p:sp>
        <p:nvSpPr>
          <p:cNvPr id="4" name="Slide Number Placeholder 3">
            <a:extLst>
              <a:ext uri="{FF2B5EF4-FFF2-40B4-BE49-F238E27FC236}">
                <a16:creationId xmlns:a16="http://schemas.microsoft.com/office/drawing/2014/main" id="{47FE7780-7838-0CE8-7293-2944322F062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99344F-1846-964E-A23F-F797EB56DD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7565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837"/>
              </a:spcAft>
              <a:buClrTx/>
              <a:buSzTx/>
              <a:buFontTx/>
              <a:buNone/>
              <a:tabLst/>
              <a:defRPr/>
            </a:pPr>
            <a:r>
              <a:rPr lang="en-US" sz="1200" b="0" i="0" kern="1200">
                <a:solidFill>
                  <a:schemeClr val="tx1"/>
                </a:solidFill>
                <a:effectLst/>
                <a:latin typeface="+mn-lt"/>
                <a:ea typeface="+mn-ea"/>
                <a:cs typeface="+mn-cs"/>
              </a:rPr>
              <a:t>Let’s take a quick look at today’s agenda. We’ll start with housekeeping, then move into who’s in the audience, an overview of DEN, upcoming opportunities, and finally our breakout rooms and networking.</a:t>
            </a:r>
          </a:p>
          <a:p>
            <a:pPr>
              <a:spcAft>
                <a:spcPts val="1837"/>
              </a:spcAft>
            </a:pPr>
            <a:endParaRPr lang="en-US" b="1" i="0">
              <a:solidFill>
                <a:srgbClr val="4B5563"/>
              </a:solidFill>
              <a:effectLst/>
              <a:latin typeface="Inter"/>
            </a:endParaRPr>
          </a:p>
          <a:p>
            <a:pPr marL="0" marR="0" lvl="0" indent="0" algn="l" defTabSz="914400" rtl="0" eaLnBrk="1" fontAlgn="auto" latinLnBrk="0" hangingPunct="1">
              <a:lnSpc>
                <a:spcPct val="100000"/>
              </a:lnSpc>
              <a:spcBef>
                <a:spcPts val="0"/>
              </a:spcBef>
              <a:spcAft>
                <a:spcPts val="1837"/>
              </a:spcAft>
              <a:buClrTx/>
              <a:buSzTx/>
              <a:buFontTx/>
              <a:buNone/>
              <a:tabLst/>
              <a:defRPr/>
            </a:pPr>
            <a:r>
              <a:rPr lang="en-US" sz="1200" b="0" i="0" kern="1200">
                <a:solidFill>
                  <a:schemeClr val="tx1"/>
                </a:solidFill>
                <a:effectLst/>
                <a:latin typeface="+mn-lt"/>
                <a:ea typeface="+mn-ea"/>
                <a:cs typeface="+mn-cs"/>
              </a:rPr>
              <a:t>Alright, now that you’ve seen the flow for today, let’s go ahead and start with our housekeeping item. &lt;&lt;Next Slide&gt;&gt;</a:t>
            </a:r>
          </a:p>
          <a:p>
            <a:pPr marL="0" marR="0" lvl="0" indent="0" algn="l" defTabSz="914400" rtl="0" eaLnBrk="1" fontAlgn="auto" latinLnBrk="0" hangingPunct="1">
              <a:lnSpc>
                <a:spcPct val="100000"/>
              </a:lnSpc>
              <a:spcBef>
                <a:spcPts val="0"/>
              </a:spcBef>
              <a:spcAft>
                <a:spcPts val="1837"/>
              </a:spcAft>
              <a:buClrTx/>
              <a:buSzTx/>
              <a:buFontTx/>
              <a:buNone/>
              <a:tabLst/>
              <a:defRPr/>
            </a:pPr>
            <a:endParaRPr lang="en-US" sz="1200" b="0" i="0" kern="1200">
              <a:solidFill>
                <a:schemeClr val="tx1"/>
              </a:solidFill>
              <a:effectLst/>
              <a:latin typeface="+mn-lt"/>
              <a:ea typeface="+mn-ea"/>
              <a:cs typeface="+mn-cs"/>
            </a:endParaRPr>
          </a:p>
          <a:p>
            <a:pPr>
              <a:spcAft>
                <a:spcPts val="1837"/>
              </a:spcAft>
            </a:pPr>
            <a:endParaRPr lang="en-US" b="1" i="0">
              <a:solidFill>
                <a:srgbClr val="4B5563"/>
              </a:solidFill>
              <a:effectLst/>
              <a:latin typeface="Inter"/>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99344F-1846-964E-A23F-F797EB56DD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0299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47FB13-AE89-AFF1-2A83-2354980395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89C549-EE81-D7CB-69E6-A724F64724E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933F9CC-CE6C-E8B2-81CC-208569153CF7}"/>
              </a:ext>
            </a:extLst>
          </p:cNvPr>
          <p:cNvSpPr>
            <a:spLocks noGrp="1"/>
          </p:cNvSpPr>
          <p:nvPr>
            <p:ph type="body" idx="1"/>
          </p:nvPr>
        </p:nvSpPr>
        <p:spPr/>
        <p:txBody>
          <a:bodyPr/>
          <a:lstStyle/>
          <a:p>
            <a:pPr defTabSz="933237">
              <a:defRPr/>
            </a:pPr>
            <a:r>
              <a:rPr lang="en-US" b="1"/>
              <a:t>45- 60 Seconds Max</a:t>
            </a:r>
          </a:p>
          <a:p>
            <a:pPr>
              <a:buNone/>
            </a:pPr>
            <a:endParaRPr lang="en-US"/>
          </a:p>
        </p:txBody>
      </p:sp>
      <p:sp>
        <p:nvSpPr>
          <p:cNvPr id="4" name="Slide Number Placeholder 3">
            <a:extLst>
              <a:ext uri="{FF2B5EF4-FFF2-40B4-BE49-F238E27FC236}">
                <a16:creationId xmlns:a16="http://schemas.microsoft.com/office/drawing/2014/main" id="{985CF11C-0219-D144-9522-19A13AD4863E}"/>
              </a:ext>
            </a:extLst>
          </p:cNvPr>
          <p:cNvSpPr>
            <a:spLocks noGrp="1"/>
          </p:cNvSpPr>
          <p:nvPr>
            <p:ph type="sldNum" sz="quarter" idx="5"/>
          </p:nvPr>
        </p:nvSpPr>
        <p:spPr/>
        <p:txBody>
          <a:bodyPr/>
          <a:lstStyle/>
          <a:p>
            <a:pPr defTabSz="933237">
              <a:defRPr/>
            </a:pPr>
            <a:fld id="{A399344F-1846-964E-A23F-F797EB56DD37}" type="slidenum">
              <a:rPr lang="en-US">
                <a:solidFill>
                  <a:prstClr val="black"/>
                </a:solidFill>
                <a:latin typeface="Calibri" panose="020F0502020204030204"/>
              </a:rPr>
              <a:pPr defTabSz="933237">
                <a:defRPr/>
              </a:pPr>
              <a:t>24</a:t>
            </a:fld>
            <a:endParaRPr lang="en-US">
              <a:solidFill>
                <a:prstClr val="black"/>
              </a:solidFill>
              <a:latin typeface="Calibri" panose="020F0502020204030204"/>
            </a:endParaRPr>
          </a:p>
        </p:txBody>
      </p:sp>
    </p:spTree>
    <p:extLst>
      <p:ext uri="{BB962C8B-B14F-4D97-AF65-F5344CB8AC3E}">
        <p14:creationId xmlns:p14="http://schemas.microsoft.com/office/powerpoint/2010/main" val="2391841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C71F9F-2DC7-5BCB-834B-578D93D4B0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DB14D8-8308-8486-923F-2AD54085902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8140E2C-AC0D-4035-0CBB-30837F915D20}"/>
              </a:ext>
            </a:extLst>
          </p:cNvPr>
          <p:cNvSpPr>
            <a:spLocks noGrp="1"/>
          </p:cNvSpPr>
          <p:nvPr>
            <p:ph type="body" idx="1"/>
          </p:nvPr>
        </p:nvSpPr>
        <p:spPr/>
        <p:txBody>
          <a:bodyPr/>
          <a:lstStyle/>
          <a:p>
            <a:pPr defTabSz="933237">
              <a:defRPr/>
            </a:pPr>
            <a:r>
              <a:rPr lang="en-US" b="1"/>
              <a:t>45- 60 Seconds Max</a:t>
            </a:r>
          </a:p>
          <a:p>
            <a:pPr>
              <a:buNone/>
            </a:pPr>
            <a:endParaRPr lang="en-US"/>
          </a:p>
        </p:txBody>
      </p:sp>
      <p:sp>
        <p:nvSpPr>
          <p:cNvPr id="4" name="Slide Number Placeholder 3">
            <a:extLst>
              <a:ext uri="{FF2B5EF4-FFF2-40B4-BE49-F238E27FC236}">
                <a16:creationId xmlns:a16="http://schemas.microsoft.com/office/drawing/2014/main" id="{E13C8A40-A736-4830-5872-20EF02E1110C}"/>
              </a:ext>
            </a:extLst>
          </p:cNvPr>
          <p:cNvSpPr>
            <a:spLocks noGrp="1"/>
          </p:cNvSpPr>
          <p:nvPr>
            <p:ph type="sldNum" sz="quarter" idx="5"/>
          </p:nvPr>
        </p:nvSpPr>
        <p:spPr/>
        <p:txBody>
          <a:bodyPr/>
          <a:lstStyle/>
          <a:p>
            <a:pPr defTabSz="933237">
              <a:defRPr/>
            </a:pPr>
            <a:fld id="{A399344F-1846-964E-A23F-F797EB56DD37}" type="slidenum">
              <a:rPr lang="en-US">
                <a:solidFill>
                  <a:prstClr val="black"/>
                </a:solidFill>
                <a:latin typeface="Calibri" panose="020F0502020204030204"/>
              </a:rPr>
              <a:pPr defTabSz="933237">
                <a:defRPr/>
              </a:pPr>
              <a:t>25</a:t>
            </a:fld>
            <a:endParaRPr lang="en-US">
              <a:solidFill>
                <a:prstClr val="black"/>
              </a:solidFill>
              <a:latin typeface="Calibri" panose="020F0502020204030204"/>
            </a:endParaRPr>
          </a:p>
        </p:txBody>
      </p:sp>
    </p:spTree>
    <p:extLst>
      <p:ext uri="{BB962C8B-B14F-4D97-AF65-F5344CB8AC3E}">
        <p14:creationId xmlns:p14="http://schemas.microsoft.com/office/powerpoint/2010/main" val="2898841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82969-FC09-C405-FDA7-1573733B04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BFB095-9DF6-9EAC-BA71-6C139DE6561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09BAE78-D02E-A5AD-D1AC-6BE822188979}"/>
              </a:ext>
            </a:extLst>
          </p:cNvPr>
          <p:cNvSpPr>
            <a:spLocks noGrp="1"/>
          </p:cNvSpPr>
          <p:nvPr>
            <p:ph type="body" idx="1"/>
          </p:nvPr>
        </p:nvSpPr>
        <p:spPr/>
        <p:txBody>
          <a:bodyPr/>
          <a:lstStyle/>
          <a:p>
            <a:pPr defTabSz="933237">
              <a:defRPr/>
            </a:pPr>
            <a:r>
              <a:rPr lang="en-US" b="1"/>
              <a:t>45- 60 Seconds Max</a:t>
            </a:r>
          </a:p>
          <a:p>
            <a:pPr>
              <a:buNone/>
            </a:pPr>
            <a:endParaRPr lang="en-US"/>
          </a:p>
        </p:txBody>
      </p:sp>
      <p:sp>
        <p:nvSpPr>
          <p:cNvPr id="4" name="Slide Number Placeholder 3">
            <a:extLst>
              <a:ext uri="{FF2B5EF4-FFF2-40B4-BE49-F238E27FC236}">
                <a16:creationId xmlns:a16="http://schemas.microsoft.com/office/drawing/2014/main" id="{5BC31EF7-28FD-129D-4424-9F52114C340C}"/>
              </a:ext>
            </a:extLst>
          </p:cNvPr>
          <p:cNvSpPr>
            <a:spLocks noGrp="1"/>
          </p:cNvSpPr>
          <p:nvPr>
            <p:ph type="sldNum" sz="quarter" idx="5"/>
          </p:nvPr>
        </p:nvSpPr>
        <p:spPr/>
        <p:txBody>
          <a:bodyPr/>
          <a:lstStyle/>
          <a:p>
            <a:pPr defTabSz="933237">
              <a:defRPr/>
            </a:pPr>
            <a:fld id="{A399344F-1846-964E-A23F-F797EB56DD37}" type="slidenum">
              <a:rPr lang="en-US">
                <a:solidFill>
                  <a:prstClr val="black"/>
                </a:solidFill>
                <a:latin typeface="Calibri" panose="020F0502020204030204"/>
              </a:rPr>
              <a:pPr defTabSz="933237">
                <a:defRPr/>
              </a:pPr>
              <a:t>27</a:t>
            </a:fld>
            <a:endParaRPr lang="en-US">
              <a:solidFill>
                <a:prstClr val="black"/>
              </a:solidFill>
              <a:latin typeface="Calibri" panose="020F0502020204030204"/>
            </a:endParaRPr>
          </a:p>
        </p:txBody>
      </p:sp>
    </p:spTree>
    <p:extLst>
      <p:ext uri="{BB962C8B-B14F-4D97-AF65-F5344CB8AC3E}">
        <p14:creationId xmlns:p14="http://schemas.microsoft.com/office/powerpoint/2010/main" val="34680425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7FAD16-4376-13AD-23CF-3545C862EF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39A153-F639-697F-CDE6-85D8C46618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37E285-EDC9-EFAB-34F7-82607EFFA8B8}"/>
              </a:ext>
            </a:extLst>
          </p:cNvPr>
          <p:cNvSpPr>
            <a:spLocks noGrp="1"/>
          </p:cNvSpPr>
          <p:nvPr>
            <p:ph type="body" idx="1"/>
          </p:nvPr>
        </p:nvSpPr>
        <p:spPr/>
        <p:txBody>
          <a:bodyPr/>
          <a:lstStyle/>
          <a:p>
            <a:pPr>
              <a:buNone/>
            </a:pPr>
            <a:r>
              <a:rPr lang="en-US" b="1"/>
              <a:t>45- 60 Seconds Max</a:t>
            </a:r>
          </a:p>
        </p:txBody>
      </p:sp>
      <p:sp>
        <p:nvSpPr>
          <p:cNvPr id="4" name="Slide Number Placeholder 3">
            <a:extLst>
              <a:ext uri="{FF2B5EF4-FFF2-40B4-BE49-F238E27FC236}">
                <a16:creationId xmlns:a16="http://schemas.microsoft.com/office/drawing/2014/main" id="{25A9D382-7FCE-798D-2EC0-42AFB22E19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99344F-1846-964E-A23F-F797EB56DD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8751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NICOLE PRESENT THIS SLIDE </a:t>
            </a:r>
          </a:p>
        </p:txBody>
      </p:sp>
      <p:sp>
        <p:nvSpPr>
          <p:cNvPr id="4" name="Slide Number Placeholder 3"/>
          <p:cNvSpPr>
            <a:spLocks noGrp="1"/>
          </p:cNvSpPr>
          <p:nvPr>
            <p:ph type="sldNum" sz="quarter" idx="5"/>
          </p:nvPr>
        </p:nvSpPr>
        <p:spPr/>
        <p:txBody>
          <a:bodyPr/>
          <a:lstStyle/>
          <a:p>
            <a:fld id="{A399344F-1846-964E-A23F-F797EB56DD37}" type="slidenum">
              <a:rPr lang="en-US" smtClean="0"/>
              <a:t>30</a:t>
            </a:fld>
            <a:endParaRPr lang="en-US"/>
          </a:p>
        </p:txBody>
      </p:sp>
    </p:spTree>
    <p:extLst>
      <p:ext uri="{BB962C8B-B14F-4D97-AF65-F5344CB8AC3E}">
        <p14:creationId xmlns:p14="http://schemas.microsoft.com/office/powerpoint/2010/main" val="26688752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1A5FF-73BD-17BF-E691-24E42BA0E4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EF75C7-5ADE-13EF-40FB-D558DB01DB3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3062B1C-5510-F592-35C0-3D17B065064A}"/>
              </a:ext>
            </a:extLst>
          </p:cNvPr>
          <p:cNvSpPr>
            <a:spLocks noGrp="1"/>
          </p:cNvSpPr>
          <p:nvPr>
            <p:ph type="body" idx="1"/>
          </p:nvPr>
        </p:nvSpPr>
        <p:spPr/>
        <p:txBody>
          <a:bodyPr/>
          <a:lstStyle/>
          <a:p>
            <a:pPr defTabSz="933237">
              <a:defRPr/>
            </a:pPr>
            <a:r>
              <a:rPr lang="en-US" b="1"/>
              <a:t>45- 60 Seconds Max</a:t>
            </a:r>
          </a:p>
          <a:p>
            <a:pPr>
              <a:buNone/>
            </a:pPr>
            <a:endParaRPr lang="en-US"/>
          </a:p>
        </p:txBody>
      </p:sp>
      <p:sp>
        <p:nvSpPr>
          <p:cNvPr id="4" name="Slide Number Placeholder 3">
            <a:extLst>
              <a:ext uri="{FF2B5EF4-FFF2-40B4-BE49-F238E27FC236}">
                <a16:creationId xmlns:a16="http://schemas.microsoft.com/office/drawing/2014/main" id="{56D541BE-E178-4BEC-EA35-DA7758E83A92}"/>
              </a:ext>
            </a:extLst>
          </p:cNvPr>
          <p:cNvSpPr>
            <a:spLocks noGrp="1"/>
          </p:cNvSpPr>
          <p:nvPr>
            <p:ph type="sldNum" sz="quarter" idx="5"/>
          </p:nvPr>
        </p:nvSpPr>
        <p:spPr/>
        <p:txBody>
          <a:bodyPr/>
          <a:lstStyle/>
          <a:p>
            <a:pPr defTabSz="933237">
              <a:defRPr/>
            </a:pPr>
            <a:fld id="{A399344F-1846-964E-A23F-F797EB56DD37}" type="slidenum">
              <a:rPr lang="en-US">
                <a:solidFill>
                  <a:prstClr val="black"/>
                </a:solidFill>
                <a:latin typeface="Calibri" panose="020F0502020204030204"/>
              </a:rPr>
              <a:pPr defTabSz="933237">
                <a:defRPr/>
              </a:pPr>
              <a:t>31</a:t>
            </a:fld>
            <a:endParaRPr lang="en-US">
              <a:solidFill>
                <a:prstClr val="black"/>
              </a:solidFill>
              <a:latin typeface="Calibri" panose="020F0502020204030204"/>
            </a:endParaRPr>
          </a:p>
        </p:txBody>
      </p:sp>
    </p:spTree>
    <p:extLst>
      <p:ext uri="{BB962C8B-B14F-4D97-AF65-F5344CB8AC3E}">
        <p14:creationId xmlns:p14="http://schemas.microsoft.com/office/powerpoint/2010/main" val="32198049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BCF0B1-B571-0B2F-D094-EA138F6C3C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22707B-F001-A931-B334-80104F3A7B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A4DD69-09F9-472D-E96F-22B6FD426369}"/>
              </a:ext>
            </a:extLst>
          </p:cNvPr>
          <p:cNvSpPr>
            <a:spLocks noGrp="1"/>
          </p:cNvSpPr>
          <p:nvPr>
            <p:ph type="body" idx="1"/>
          </p:nvPr>
        </p:nvSpPr>
        <p:spPr/>
        <p:txBody>
          <a:bodyPr/>
          <a:lstStyle/>
          <a:p>
            <a:r>
              <a:rPr lang="en-US" b="1"/>
              <a:t>NICOLE PRESENT THIS SLIDE </a:t>
            </a:r>
          </a:p>
        </p:txBody>
      </p:sp>
      <p:sp>
        <p:nvSpPr>
          <p:cNvPr id="4" name="Slide Number Placeholder 3">
            <a:extLst>
              <a:ext uri="{FF2B5EF4-FFF2-40B4-BE49-F238E27FC236}">
                <a16:creationId xmlns:a16="http://schemas.microsoft.com/office/drawing/2014/main" id="{F30B3A14-B367-71EB-F3F7-C17802EBFB07}"/>
              </a:ext>
            </a:extLst>
          </p:cNvPr>
          <p:cNvSpPr>
            <a:spLocks noGrp="1"/>
          </p:cNvSpPr>
          <p:nvPr>
            <p:ph type="sldNum" sz="quarter" idx="5"/>
          </p:nvPr>
        </p:nvSpPr>
        <p:spPr/>
        <p:txBody>
          <a:bodyPr/>
          <a:lstStyle/>
          <a:p>
            <a:fld id="{A399344F-1846-964E-A23F-F797EB56DD37}" type="slidenum">
              <a:rPr lang="en-US" smtClean="0"/>
              <a:t>32</a:t>
            </a:fld>
            <a:endParaRPr lang="en-US"/>
          </a:p>
        </p:txBody>
      </p:sp>
    </p:spTree>
    <p:extLst>
      <p:ext uri="{BB962C8B-B14F-4D97-AF65-F5344CB8AC3E}">
        <p14:creationId xmlns:p14="http://schemas.microsoft.com/office/powerpoint/2010/main" val="32279260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4514F-B1CF-EFCF-4C33-4F149E33B1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7A44EA-6A8F-1E5B-BFC1-10BC4723C8A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676FCE6-E6FC-655A-6E0B-CD8A9DAFBF70}"/>
              </a:ext>
            </a:extLst>
          </p:cNvPr>
          <p:cNvSpPr>
            <a:spLocks noGrp="1"/>
          </p:cNvSpPr>
          <p:nvPr>
            <p:ph type="body" idx="1"/>
          </p:nvPr>
        </p:nvSpPr>
        <p:spPr/>
        <p:txBody>
          <a:bodyPr/>
          <a:lstStyle/>
          <a:p>
            <a:pPr defTabSz="933237">
              <a:defRPr/>
            </a:pPr>
            <a:r>
              <a:rPr lang="en-US" b="1"/>
              <a:t>45- 60 Seconds Max</a:t>
            </a:r>
          </a:p>
          <a:p>
            <a:pPr>
              <a:buNone/>
            </a:pPr>
            <a:endParaRPr lang="en-US"/>
          </a:p>
        </p:txBody>
      </p:sp>
      <p:sp>
        <p:nvSpPr>
          <p:cNvPr id="4" name="Slide Number Placeholder 3">
            <a:extLst>
              <a:ext uri="{FF2B5EF4-FFF2-40B4-BE49-F238E27FC236}">
                <a16:creationId xmlns:a16="http://schemas.microsoft.com/office/drawing/2014/main" id="{0802088F-F809-2466-918F-3A532CB78823}"/>
              </a:ext>
            </a:extLst>
          </p:cNvPr>
          <p:cNvSpPr>
            <a:spLocks noGrp="1"/>
          </p:cNvSpPr>
          <p:nvPr>
            <p:ph type="sldNum" sz="quarter" idx="5"/>
          </p:nvPr>
        </p:nvSpPr>
        <p:spPr/>
        <p:txBody>
          <a:bodyPr/>
          <a:lstStyle/>
          <a:p>
            <a:pPr defTabSz="933237">
              <a:defRPr/>
            </a:pPr>
            <a:fld id="{A399344F-1846-964E-A23F-F797EB56DD37}" type="slidenum">
              <a:rPr lang="en-US">
                <a:solidFill>
                  <a:prstClr val="black"/>
                </a:solidFill>
                <a:latin typeface="Calibri" panose="020F0502020204030204"/>
              </a:rPr>
              <a:pPr defTabSz="933237">
                <a:defRPr/>
              </a:pPr>
              <a:t>33</a:t>
            </a:fld>
            <a:endParaRPr lang="en-US">
              <a:solidFill>
                <a:prstClr val="black"/>
              </a:solidFill>
              <a:latin typeface="Calibri" panose="020F0502020204030204"/>
            </a:endParaRPr>
          </a:p>
        </p:txBody>
      </p:sp>
    </p:spTree>
    <p:extLst>
      <p:ext uri="{BB962C8B-B14F-4D97-AF65-F5344CB8AC3E}">
        <p14:creationId xmlns:p14="http://schemas.microsoft.com/office/powerpoint/2010/main" val="20755930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99AF47-BBB5-B26F-6F4E-9117B2B1B2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1E4D84-4E37-E106-1EF3-55956048B02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ED9B0EB-6E37-0BC2-D094-D80001BA6DAC}"/>
              </a:ext>
            </a:extLst>
          </p:cNvPr>
          <p:cNvSpPr>
            <a:spLocks noGrp="1"/>
          </p:cNvSpPr>
          <p:nvPr>
            <p:ph type="body" idx="1"/>
          </p:nvPr>
        </p:nvSpPr>
        <p:spPr/>
        <p:txBody>
          <a:bodyPr/>
          <a:lstStyle/>
          <a:p>
            <a:pPr defTabSz="933237">
              <a:defRPr/>
            </a:pPr>
            <a:r>
              <a:rPr lang="en-US" b="1"/>
              <a:t>45- 60 Seconds Max</a:t>
            </a:r>
          </a:p>
          <a:p>
            <a:pPr>
              <a:buNone/>
            </a:pPr>
            <a:endParaRPr lang="en-US"/>
          </a:p>
        </p:txBody>
      </p:sp>
      <p:sp>
        <p:nvSpPr>
          <p:cNvPr id="4" name="Slide Number Placeholder 3">
            <a:extLst>
              <a:ext uri="{FF2B5EF4-FFF2-40B4-BE49-F238E27FC236}">
                <a16:creationId xmlns:a16="http://schemas.microsoft.com/office/drawing/2014/main" id="{ED88AD98-DC57-8031-CC4D-5A2C4882CC99}"/>
              </a:ext>
            </a:extLst>
          </p:cNvPr>
          <p:cNvSpPr>
            <a:spLocks noGrp="1"/>
          </p:cNvSpPr>
          <p:nvPr>
            <p:ph type="sldNum" sz="quarter" idx="5"/>
          </p:nvPr>
        </p:nvSpPr>
        <p:spPr/>
        <p:txBody>
          <a:bodyPr/>
          <a:lstStyle/>
          <a:p>
            <a:pPr defTabSz="933237">
              <a:defRPr/>
            </a:pPr>
            <a:fld id="{A399344F-1846-964E-A23F-F797EB56DD37}" type="slidenum">
              <a:rPr lang="en-US">
                <a:solidFill>
                  <a:prstClr val="black"/>
                </a:solidFill>
                <a:latin typeface="Calibri" panose="020F0502020204030204"/>
              </a:rPr>
              <a:pPr defTabSz="933237">
                <a:defRPr/>
              </a:pPr>
              <a:t>35</a:t>
            </a:fld>
            <a:endParaRPr lang="en-US">
              <a:solidFill>
                <a:prstClr val="black"/>
              </a:solidFill>
              <a:latin typeface="Calibri" panose="020F0502020204030204"/>
            </a:endParaRPr>
          </a:p>
        </p:txBody>
      </p:sp>
    </p:spTree>
    <p:extLst>
      <p:ext uri="{BB962C8B-B14F-4D97-AF65-F5344CB8AC3E}">
        <p14:creationId xmlns:p14="http://schemas.microsoft.com/office/powerpoint/2010/main" val="11353415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95B97-409B-0427-7F83-E11EAC7C51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48306B-DDA5-FD8E-D589-6463093061A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455EFF8-5C88-016D-2A0F-C4CC5FD60291}"/>
              </a:ext>
            </a:extLst>
          </p:cNvPr>
          <p:cNvSpPr>
            <a:spLocks noGrp="1"/>
          </p:cNvSpPr>
          <p:nvPr>
            <p:ph type="body" idx="1"/>
          </p:nvPr>
        </p:nvSpPr>
        <p:spPr/>
        <p:txBody>
          <a:bodyPr/>
          <a:lstStyle/>
          <a:p>
            <a:pPr defTabSz="933237">
              <a:defRPr/>
            </a:pPr>
            <a:r>
              <a:rPr lang="en-US" b="1"/>
              <a:t>45- 60 Seconds Max</a:t>
            </a:r>
          </a:p>
          <a:p>
            <a:pPr>
              <a:buNone/>
            </a:pPr>
            <a:endParaRPr lang="en-US"/>
          </a:p>
        </p:txBody>
      </p:sp>
      <p:sp>
        <p:nvSpPr>
          <p:cNvPr id="4" name="Slide Number Placeholder 3">
            <a:extLst>
              <a:ext uri="{FF2B5EF4-FFF2-40B4-BE49-F238E27FC236}">
                <a16:creationId xmlns:a16="http://schemas.microsoft.com/office/drawing/2014/main" id="{EE1F6A10-3882-B81A-E538-1F0A49441236}"/>
              </a:ext>
            </a:extLst>
          </p:cNvPr>
          <p:cNvSpPr>
            <a:spLocks noGrp="1"/>
          </p:cNvSpPr>
          <p:nvPr>
            <p:ph type="sldNum" sz="quarter" idx="5"/>
          </p:nvPr>
        </p:nvSpPr>
        <p:spPr/>
        <p:txBody>
          <a:bodyPr/>
          <a:lstStyle/>
          <a:p>
            <a:pPr defTabSz="933237">
              <a:defRPr/>
            </a:pPr>
            <a:fld id="{A399344F-1846-964E-A23F-F797EB56DD37}" type="slidenum">
              <a:rPr lang="en-US">
                <a:solidFill>
                  <a:prstClr val="black"/>
                </a:solidFill>
                <a:latin typeface="Calibri" panose="020F0502020204030204"/>
              </a:rPr>
              <a:pPr defTabSz="933237">
                <a:defRPr/>
              </a:pPr>
              <a:t>37</a:t>
            </a:fld>
            <a:endParaRPr lang="en-US">
              <a:solidFill>
                <a:prstClr val="black"/>
              </a:solidFill>
              <a:latin typeface="Calibri" panose="020F0502020204030204"/>
            </a:endParaRPr>
          </a:p>
        </p:txBody>
      </p:sp>
    </p:spTree>
    <p:extLst>
      <p:ext uri="{BB962C8B-B14F-4D97-AF65-F5344CB8AC3E}">
        <p14:creationId xmlns:p14="http://schemas.microsoft.com/office/powerpoint/2010/main" val="2862103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fontAlgn="t"/>
            <a:r>
              <a:rPr lang="en-US" sz="1200" b="0" i="0" kern="1200">
                <a:solidFill>
                  <a:schemeClr val="tx1"/>
                </a:solidFill>
                <a:effectLst/>
                <a:latin typeface="+mn-lt"/>
                <a:ea typeface="+mn-ea"/>
                <a:cs typeface="+mn-cs"/>
              </a:rPr>
              <a:t>As we get started, here are a few quick housekeeping reminder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Please keep your cameras and microphones off during the main session. Please scan the QR code to introduce your firm, and share the projects you’re interested in.</a:t>
            </a:r>
          </a:p>
          <a:p>
            <a:pPr fontAlgn="t"/>
            <a:endParaRPr lang="en-US" sz="1200" b="0" i="0" kern="1200">
              <a:solidFill>
                <a:schemeClr val="tx1"/>
              </a:solidFill>
              <a:effectLst/>
              <a:latin typeface="+mn-lt"/>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Now that we’ve covered the basics, let’s move on. &lt;&lt;Next Slide&gt;&gt;</a:t>
            </a:r>
          </a:p>
          <a:p>
            <a:pPr fontAlgn="t"/>
            <a:endParaRPr lang="en-US" sz="1200" b="0" i="0" kern="1200">
              <a:solidFill>
                <a:schemeClr val="tx1"/>
              </a:solidFill>
              <a:effectLst/>
              <a:latin typeface="+mn-lt"/>
              <a:ea typeface="+mn-ea"/>
              <a:cs typeface="+mn-cs"/>
            </a:endParaRPr>
          </a:p>
          <a:p>
            <a:pPr>
              <a:spcAft>
                <a:spcPts val="1837"/>
              </a:spcAft>
            </a:pPr>
            <a:endParaRPr lang="en-US"/>
          </a:p>
        </p:txBody>
      </p:sp>
      <p:sp>
        <p:nvSpPr>
          <p:cNvPr id="4" name="Slide Number Placeholder 3"/>
          <p:cNvSpPr>
            <a:spLocks noGrp="1"/>
          </p:cNvSpPr>
          <p:nvPr>
            <p:ph type="sldNum" sz="quarter" idx="5"/>
          </p:nvPr>
        </p:nvSpPr>
        <p:spPr/>
        <p:txBody>
          <a:bodyPr/>
          <a:lstStyle/>
          <a:p>
            <a:fld id="{A399344F-1846-964E-A23F-F797EB56DD37}" type="slidenum">
              <a:rPr lang="en-US" smtClean="0"/>
              <a:t>3</a:t>
            </a:fld>
            <a:endParaRPr lang="en-US"/>
          </a:p>
        </p:txBody>
      </p:sp>
    </p:spTree>
    <p:extLst>
      <p:ext uri="{BB962C8B-B14F-4D97-AF65-F5344CB8AC3E}">
        <p14:creationId xmlns:p14="http://schemas.microsoft.com/office/powerpoint/2010/main" val="6033468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79672B-8924-F5DE-9922-B4450C0034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85376B-FC99-6C83-AA2E-2FE1F17828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43B32A-CBA5-DBB8-7A99-C5045D80CA1A}"/>
              </a:ext>
            </a:extLst>
          </p:cNvPr>
          <p:cNvSpPr>
            <a:spLocks noGrp="1"/>
          </p:cNvSpPr>
          <p:nvPr>
            <p:ph type="body" idx="1"/>
          </p:nvPr>
        </p:nvSpPr>
        <p:spPr/>
        <p:txBody>
          <a:bodyPr/>
          <a:lstStyle/>
          <a:p>
            <a:pPr>
              <a:buNone/>
            </a:pPr>
            <a:r>
              <a:rPr lang="en-US"/>
              <a:t>v</a:t>
            </a:r>
          </a:p>
        </p:txBody>
      </p:sp>
      <p:sp>
        <p:nvSpPr>
          <p:cNvPr id="4" name="Slide Number Placeholder 3">
            <a:extLst>
              <a:ext uri="{FF2B5EF4-FFF2-40B4-BE49-F238E27FC236}">
                <a16:creationId xmlns:a16="http://schemas.microsoft.com/office/drawing/2014/main" id="{7ECC7CAA-786C-584C-3E04-5A64B1B0DB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99344F-1846-964E-A23F-F797EB56DD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68561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3BDD86-6990-BE5F-6961-DCA77F7752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4AFA53-4D55-A3FA-4D3A-AC3322FB877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015FC03-C6EA-3463-641C-7E4DC6DB1571}"/>
              </a:ext>
            </a:extLst>
          </p:cNvPr>
          <p:cNvSpPr>
            <a:spLocks noGrp="1"/>
          </p:cNvSpPr>
          <p:nvPr>
            <p:ph type="body" idx="1"/>
          </p:nvPr>
        </p:nvSpPr>
        <p:spPr/>
        <p:txBody>
          <a:bodyPr/>
          <a:lstStyle/>
          <a:p>
            <a:pPr>
              <a:buNone/>
            </a:pPr>
            <a:r>
              <a:rPr lang="en-US" b="1"/>
              <a:t>45- 60 Seconds Max</a:t>
            </a:r>
          </a:p>
        </p:txBody>
      </p:sp>
      <p:sp>
        <p:nvSpPr>
          <p:cNvPr id="4" name="Slide Number Placeholder 3">
            <a:extLst>
              <a:ext uri="{FF2B5EF4-FFF2-40B4-BE49-F238E27FC236}">
                <a16:creationId xmlns:a16="http://schemas.microsoft.com/office/drawing/2014/main" id="{DD74E44C-A847-F7F5-5632-BD768B802E58}"/>
              </a:ext>
            </a:extLst>
          </p:cNvPr>
          <p:cNvSpPr>
            <a:spLocks noGrp="1"/>
          </p:cNvSpPr>
          <p:nvPr>
            <p:ph type="sldNum" sz="quarter" idx="5"/>
          </p:nvPr>
        </p:nvSpPr>
        <p:spPr/>
        <p:txBody>
          <a:bodyPr/>
          <a:lstStyle/>
          <a:p>
            <a:fld id="{A399344F-1846-964E-A23F-F797EB56DD37}" type="slidenum">
              <a:rPr lang="en-US" smtClean="0"/>
              <a:t>40</a:t>
            </a:fld>
            <a:endParaRPr lang="en-US"/>
          </a:p>
        </p:txBody>
      </p:sp>
    </p:spTree>
    <p:extLst>
      <p:ext uri="{BB962C8B-B14F-4D97-AF65-F5344CB8AC3E}">
        <p14:creationId xmlns:p14="http://schemas.microsoft.com/office/powerpoint/2010/main" val="30941556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FAA04F-DC51-127E-A36C-C4FF991FBF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94922F-36B0-982A-C17F-4F46F67E429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99E5968-4E43-E7C3-137F-46AF433A0709}"/>
              </a:ext>
            </a:extLst>
          </p:cNvPr>
          <p:cNvSpPr>
            <a:spLocks noGrp="1"/>
          </p:cNvSpPr>
          <p:nvPr>
            <p:ph type="body" idx="1"/>
          </p:nvPr>
        </p:nvSpPr>
        <p:spPr/>
        <p:txBody>
          <a:bodyPr/>
          <a:lstStyle/>
          <a:p>
            <a:pPr>
              <a:buNone/>
            </a:pPr>
            <a:r>
              <a:rPr lang="en-US" b="1"/>
              <a:t>45- 60 Seconds Max</a:t>
            </a:r>
          </a:p>
        </p:txBody>
      </p:sp>
      <p:sp>
        <p:nvSpPr>
          <p:cNvPr id="4" name="Slide Number Placeholder 3">
            <a:extLst>
              <a:ext uri="{FF2B5EF4-FFF2-40B4-BE49-F238E27FC236}">
                <a16:creationId xmlns:a16="http://schemas.microsoft.com/office/drawing/2014/main" id="{548B8A10-9A6D-3147-4B9E-3C299AE6DE40}"/>
              </a:ext>
            </a:extLst>
          </p:cNvPr>
          <p:cNvSpPr>
            <a:spLocks noGrp="1"/>
          </p:cNvSpPr>
          <p:nvPr>
            <p:ph type="sldNum" sz="quarter" idx="5"/>
          </p:nvPr>
        </p:nvSpPr>
        <p:spPr/>
        <p:txBody>
          <a:bodyPr/>
          <a:lstStyle/>
          <a:p>
            <a:fld id="{A399344F-1846-964E-A23F-F797EB56DD37}" type="slidenum">
              <a:rPr lang="en-US" smtClean="0"/>
              <a:t>41</a:t>
            </a:fld>
            <a:endParaRPr lang="en-US"/>
          </a:p>
        </p:txBody>
      </p:sp>
    </p:spTree>
    <p:extLst>
      <p:ext uri="{BB962C8B-B14F-4D97-AF65-F5344CB8AC3E}">
        <p14:creationId xmlns:p14="http://schemas.microsoft.com/office/powerpoint/2010/main" val="39331951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A608A0C-F9A6-BF40-BAF8-F28E0F8CC2EF}" type="slidenum">
              <a:rPr kumimoji="0" lang="en-GB"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007986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defTabSz="933237">
              <a:defRPr/>
            </a:pPr>
            <a:r>
              <a:rPr lang="en-US" b="1"/>
              <a:t>45- 60 Seconds Max</a:t>
            </a:r>
          </a:p>
          <a:p>
            <a:endParaRPr lang="en-US"/>
          </a:p>
        </p:txBody>
      </p:sp>
      <p:sp>
        <p:nvSpPr>
          <p:cNvPr id="4" name="Slide Number Placeholder 3"/>
          <p:cNvSpPr>
            <a:spLocks noGrp="1"/>
          </p:cNvSpPr>
          <p:nvPr>
            <p:ph type="sldNum" sz="quarter" idx="5"/>
          </p:nvPr>
        </p:nvSpPr>
        <p:spPr/>
        <p:txBody>
          <a:bodyPr/>
          <a:lstStyle/>
          <a:p>
            <a:fld id="{A399344F-1846-964E-A23F-F797EB56DD37}" type="slidenum">
              <a:rPr lang="en-US" smtClean="0"/>
              <a:t>45</a:t>
            </a:fld>
            <a:endParaRPr lang="en-US"/>
          </a:p>
        </p:txBody>
      </p:sp>
    </p:spTree>
    <p:extLst>
      <p:ext uri="{BB962C8B-B14F-4D97-AF65-F5344CB8AC3E}">
        <p14:creationId xmlns:p14="http://schemas.microsoft.com/office/powerpoint/2010/main" val="104923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4E3061-CA55-94B7-69FA-C5E14F9BCE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1A5151-E747-631F-57AA-37FF80C396C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6704C1D-D6C8-3068-0E22-A71944564D38}"/>
              </a:ext>
            </a:extLst>
          </p:cNvPr>
          <p:cNvSpPr>
            <a:spLocks noGrp="1"/>
          </p:cNvSpPr>
          <p:nvPr>
            <p:ph type="body" idx="1"/>
          </p:nvPr>
        </p:nvSpPr>
        <p:spPr/>
        <p:txBody>
          <a:bodyPr/>
          <a:lstStyle/>
          <a:p>
            <a:pPr defTabSz="933237">
              <a:defRPr/>
            </a:pPr>
            <a:r>
              <a:rPr lang="en-US" b="1"/>
              <a:t>45- 60 Seconds Max</a:t>
            </a:r>
          </a:p>
          <a:p>
            <a:endParaRPr lang="en-US"/>
          </a:p>
          <a:p>
            <a:r>
              <a:rPr lang="en-US" b="1"/>
              <a:t>You are not seeing any concession opportunities presented today</a:t>
            </a:r>
            <a:r>
              <a:rPr lang="en-US"/>
              <a:t>, and that is directly related to the federal changes impacting the ACDBE program.</a:t>
            </a:r>
            <a:endParaRPr lang="en-US">
              <a:ea typeface="Calibri"/>
              <a:cs typeface="Calibri"/>
            </a:endParaRPr>
          </a:p>
          <a:p>
            <a:endParaRPr lang="en-US"/>
          </a:p>
          <a:p>
            <a:r>
              <a:rPr lang="en-US"/>
              <a:t>As of October 3, 2025, USDOT issued an Interim Final Rule that removed the presumption of social disadvantage. Because of that, ACDBE and DBE certifications are currently undergoing reevaluation nationwide, including here in Colorado.</a:t>
            </a:r>
          </a:p>
          <a:p>
            <a:endParaRPr lang="en-US"/>
          </a:p>
          <a:p>
            <a:r>
              <a:rPr lang="en-US"/>
              <a:t>During this transition:</a:t>
            </a:r>
          </a:p>
          <a:p>
            <a:pPr marL="171450" indent="-171450">
              <a:buFont typeface="Arial"/>
              <a:buChar char="•"/>
            </a:pPr>
            <a:r>
              <a:rPr lang="en-US"/>
              <a:t>Firms are being reevaluated through the Colorado UCP</a:t>
            </a:r>
          </a:p>
          <a:p>
            <a:pPr marL="171450" indent="-171450">
              <a:buFont typeface="Arial"/>
              <a:buChar char="•"/>
            </a:pPr>
            <a:r>
              <a:rPr lang="en-US"/>
              <a:t>Some firms were delisted if they did not meet the January 2026 deadline</a:t>
            </a:r>
          </a:p>
          <a:p>
            <a:pPr marL="171450" indent="-171450">
              <a:buFont typeface="Arial"/>
              <a:buChar char="•"/>
            </a:pPr>
            <a:r>
              <a:rPr lang="en-US"/>
              <a:t>And most importantly, there is </a:t>
            </a:r>
            <a:r>
              <a:rPr lang="en-US" b="1"/>
              <a:t>no goal setting and no counting</a:t>
            </a:r>
            <a:r>
              <a:rPr lang="en-US"/>
              <a:t> until that reevaluation process is fully complete</a:t>
            </a:r>
          </a:p>
          <a:p>
            <a:pPr marL="171450" indent="-171450">
              <a:buFont typeface="Arial"/>
              <a:buChar char="•"/>
            </a:pPr>
            <a:endParaRPr lang="en-US"/>
          </a:p>
          <a:p>
            <a:r>
              <a:rPr lang="en-US"/>
              <a:t>Because of that, </a:t>
            </a:r>
            <a:r>
              <a:rPr lang="en-US" b="1"/>
              <a:t>DEN is unable to release new concession opportunities tied to the federal program at this time.</a:t>
            </a:r>
            <a:endParaRPr lang="en-US"/>
          </a:p>
          <a:p>
            <a:endParaRPr lang="en-US">
              <a:ea typeface="Calibri"/>
              <a:cs typeface="Calibri"/>
            </a:endParaRPr>
          </a:p>
        </p:txBody>
      </p:sp>
      <p:sp>
        <p:nvSpPr>
          <p:cNvPr id="4" name="Slide Number Placeholder 3">
            <a:extLst>
              <a:ext uri="{FF2B5EF4-FFF2-40B4-BE49-F238E27FC236}">
                <a16:creationId xmlns:a16="http://schemas.microsoft.com/office/drawing/2014/main" id="{D967E1EA-FB34-7B2D-FEF0-8E9AEE2D08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99344F-1846-964E-A23F-F797EB56DD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39413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B096B8-BF6D-2372-F4E5-2A7A254CD5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515D9B-1087-5031-8F14-1E258177B55B}"/>
              </a:ext>
            </a:extLst>
          </p:cNvPr>
          <p:cNvSpPr>
            <a:spLocks noGrp="1" noRot="1" noChangeAspect="1"/>
          </p:cNvSpPr>
          <p:nvPr>
            <p:ph type="sldImg"/>
          </p:nvPr>
        </p:nvSpPr>
        <p:spPr>
          <a:xfrm>
            <a:off x="685800" y="1143000"/>
            <a:ext cx="5486400" cy="3086100"/>
          </a:xfrm>
          <a:prstGeom prst="rect">
            <a:avLst/>
          </a:prstGeom>
        </p:spPr>
      </p:sp>
      <p:sp>
        <p:nvSpPr>
          <p:cNvPr id="3" name="Notes Placeholder 2">
            <a:extLst>
              <a:ext uri="{FF2B5EF4-FFF2-40B4-BE49-F238E27FC236}">
                <a16:creationId xmlns:a16="http://schemas.microsoft.com/office/drawing/2014/main" id="{4C364DA2-38AC-A6EE-21A9-40F765CF7D06}"/>
              </a:ext>
            </a:extLst>
          </p:cNvPr>
          <p:cNvSpPr>
            <a:spLocks noGrp="1"/>
          </p:cNvSpPr>
          <p:nvPr>
            <p:ph type="body" idx="1"/>
          </p:nvPr>
        </p:nvSpPr>
        <p:spPr>
          <a:xfrm>
            <a:off x="685800" y="4400549"/>
            <a:ext cx="5486400" cy="3600451"/>
          </a:xfrm>
          <a:prstGeom prst="rect">
            <a:avLst/>
          </a:prstGeom>
        </p:spPr>
        <p:txBody>
          <a:bodyPr/>
          <a:lstStyle/>
          <a:p>
            <a:pPr defTabSz="897301">
              <a:defRPr/>
            </a:pPr>
            <a:r>
              <a:rPr lang="en-US"/>
              <a:t>While federal ACDBE-driven concessions are paused, our </a:t>
            </a:r>
            <a:r>
              <a:rPr lang="en-US" b="1"/>
              <a:t>local Small Business Enterprise Concessions program, or SBEC, is still active and moving forward.</a:t>
            </a:r>
            <a:endParaRPr lang="en-US"/>
          </a:p>
          <a:p>
            <a:pPr defTabSz="897301">
              <a:defRPr/>
            </a:pPr>
            <a:endParaRPr lang="en-US" b="1"/>
          </a:p>
          <a:p>
            <a:pPr defTabSz="897301">
              <a:defRPr/>
            </a:pPr>
            <a:r>
              <a:rPr lang="en-US"/>
              <a:t>SBEC is a </a:t>
            </a:r>
            <a:r>
              <a:rPr lang="en-US" b="1"/>
              <a:t>locally funded, race- and gender-neutral program</a:t>
            </a:r>
            <a:r>
              <a:rPr lang="en-US"/>
              <a:t>, governed by Denver’s Municipal Code, and it continues to create pathways for small businesses to enter the airport concessions space.</a:t>
            </a:r>
          </a:p>
          <a:p>
            <a:pPr defTabSz="897301">
              <a:defRPr/>
            </a:pPr>
            <a:endParaRPr lang="en-US"/>
          </a:p>
          <a:p>
            <a:pPr defTabSz="897301">
              <a:defRPr/>
            </a:pPr>
            <a:r>
              <a:rPr lang="en-US"/>
              <a:t>There are two primary ways firms can participate:</a:t>
            </a:r>
            <a:endParaRPr lang="en-US">
              <a:ea typeface="Calibri" panose="020F0502020204030204"/>
              <a:cs typeface="Calibri" panose="020F0502020204030204"/>
            </a:endParaRPr>
          </a:p>
          <a:p>
            <a:pPr marL="171450" indent="-171450" defTabSz="897301">
              <a:buFont typeface="Arial"/>
              <a:buChar char="•"/>
              <a:defRPr/>
            </a:pPr>
            <a:r>
              <a:rPr lang="en-US"/>
              <a:t>Through a </a:t>
            </a:r>
            <a:r>
              <a:rPr lang="en-US" b="1"/>
              <a:t>Defined Pool</a:t>
            </a:r>
            <a:r>
              <a:rPr lang="en-US"/>
              <a:t>, where the concession is owned and operated by a certified SBEC firm</a:t>
            </a:r>
            <a:endParaRPr lang="en-US">
              <a:ea typeface="Calibri"/>
              <a:cs typeface="Calibri"/>
            </a:endParaRPr>
          </a:p>
          <a:p>
            <a:pPr marL="171450" indent="-171450" defTabSz="897301">
              <a:buFont typeface="Arial"/>
              <a:buChar char="•"/>
              <a:defRPr/>
            </a:pPr>
            <a:r>
              <a:rPr lang="en-US"/>
              <a:t>Or through </a:t>
            </a:r>
            <a:r>
              <a:rPr lang="en-US" b="1"/>
              <a:t>concession-specific goals</a:t>
            </a:r>
            <a:r>
              <a:rPr lang="en-US"/>
              <a:t>, based on a percentage of revenue and achieved through ownership, joint ventures, or goods and services participation</a:t>
            </a:r>
          </a:p>
          <a:p>
            <a:pPr defTabSz="897301">
              <a:defRPr/>
            </a:pPr>
            <a:endParaRPr lang="en-US"/>
          </a:p>
          <a:p>
            <a:pPr defTabSz="897301">
              <a:defRPr/>
            </a:pPr>
            <a:r>
              <a:rPr lang="en-US"/>
              <a:t>To participate, firms must be certified through the Division of Small Business Opportunity and meet eligibility requirements around ownership, control, and size.</a:t>
            </a:r>
          </a:p>
          <a:p>
            <a:pPr defTabSz="897301">
              <a:defRPr/>
            </a:pPr>
            <a:endParaRPr lang="en-US"/>
          </a:p>
          <a:p>
            <a:pPr defTabSz="897301">
              <a:defRPr/>
            </a:pPr>
            <a:r>
              <a:rPr lang="en-US"/>
              <a:t>And although we’re not presenting concession opportunities today, I do want to emphasize:</a:t>
            </a:r>
            <a:endParaRPr lang="en-US">
              <a:ea typeface="Calibri" panose="020F0502020204030204"/>
              <a:cs typeface="Calibri" panose="020F0502020204030204"/>
            </a:endParaRPr>
          </a:p>
          <a:p>
            <a:pPr marL="171450" indent="-171450" defTabSz="897301">
              <a:buFont typeface="Arial"/>
              <a:buChar char="•"/>
              <a:defRPr/>
            </a:pPr>
            <a:r>
              <a:rPr lang="en-US"/>
              <a:t>We currently have </a:t>
            </a:r>
            <a:r>
              <a:rPr lang="en-US" b="1"/>
              <a:t>seven SBEC locations operating at DEN</a:t>
            </a:r>
            <a:endParaRPr lang="en-US"/>
          </a:p>
          <a:p>
            <a:pPr marL="171450" indent="-171450" defTabSz="897301">
              <a:buFont typeface="Arial"/>
              <a:buChar char="•"/>
              <a:defRPr/>
            </a:pPr>
            <a:r>
              <a:rPr lang="en-US"/>
              <a:t>We released multiple opportunities in 2025</a:t>
            </a:r>
          </a:p>
          <a:p>
            <a:pPr marL="171450" indent="-171450" defTabSz="897301">
              <a:buFont typeface="Arial"/>
              <a:buChar char="•"/>
              <a:defRPr/>
            </a:pPr>
            <a:r>
              <a:rPr lang="en-US"/>
              <a:t>And we anticipate </a:t>
            </a:r>
            <a:r>
              <a:rPr lang="en-US" b="1"/>
              <a:t>additional SBEC opportunities in the future</a:t>
            </a:r>
            <a:r>
              <a:rPr lang="en-US"/>
              <a:t> once timing aligns</a:t>
            </a:r>
            <a:endParaRPr lang="en-US">
              <a:ea typeface="Calibri"/>
              <a:cs typeface="Calibri"/>
            </a:endParaRPr>
          </a:p>
          <a:p>
            <a:pPr defTabSz="897301">
              <a:defRPr/>
            </a:pPr>
            <a:endParaRPr lang="en-US" b="1">
              <a:ea typeface="Calibri"/>
              <a:cs typeface="Calibri"/>
            </a:endParaRPr>
          </a:p>
          <a:p>
            <a:pPr defTabSz="897301">
              <a:defRPr/>
            </a:pPr>
            <a:r>
              <a:rPr lang="en-US"/>
              <a:t>This is the time for businesses to:</a:t>
            </a:r>
          </a:p>
          <a:p>
            <a:pPr marL="171450" indent="-171450" defTabSz="897301">
              <a:buFont typeface="Arial"/>
              <a:buChar char="•"/>
              <a:defRPr/>
            </a:pPr>
            <a:r>
              <a:rPr lang="en-US"/>
              <a:t>Get certified</a:t>
            </a:r>
          </a:p>
          <a:p>
            <a:pPr marL="171450" indent="-171450" defTabSz="897301">
              <a:buFont typeface="Arial"/>
              <a:buChar char="•"/>
              <a:defRPr/>
            </a:pPr>
            <a:r>
              <a:rPr lang="en-US"/>
              <a:t>Build partnerships</a:t>
            </a:r>
          </a:p>
          <a:p>
            <a:pPr marL="171450" indent="-171450" defTabSz="897301">
              <a:buFont typeface="Arial"/>
              <a:buChar char="•"/>
              <a:defRPr/>
            </a:pPr>
            <a:r>
              <a:rPr lang="en-US"/>
              <a:t>And position themselves strategically for when both local and federal opportunities fully ramp back up.</a:t>
            </a:r>
          </a:p>
          <a:p>
            <a:pPr defTabSz="897301">
              <a:defRPr/>
            </a:pPr>
            <a:endParaRPr lang="en-US">
              <a:ea typeface="Calibri"/>
              <a:cs typeface="Calibri"/>
            </a:endParaRPr>
          </a:p>
        </p:txBody>
      </p:sp>
    </p:spTree>
    <p:extLst>
      <p:ext uri="{BB962C8B-B14F-4D97-AF65-F5344CB8AC3E}">
        <p14:creationId xmlns:p14="http://schemas.microsoft.com/office/powerpoint/2010/main" val="27303670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a:buNone/>
            </a:pPr>
            <a:r>
              <a:rPr lang="en-US" b="1"/>
              <a:t>45- 60 Seconds Max</a:t>
            </a:r>
          </a:p>
          <a:p>
            <a:pPr>
              <a:buNone/>
            </a:pPr>
            <a:endParaRPr lang="en-US" b="1"/>
          </a:p>
          <a:p>
            <a:pPr>
              <a:buNone/>
            </a:pPr>
            <a:r>
              <a:rPr lang="en-US" b="1"/>
              <a:t>General Services Purchasing – What We Do </a:t>
            </a:r>
          </a:p>
          <a:p>
            <a:pPr>
              <a:buNone/>
            </a:pPr>
            <a:endParaRPr lang="en-US" b="1"/>
          </a:p>
          <a:p>
            <a:pPr>
              <a:buNone/>
            </a:pPr>
            <a:r>
              <a:rPr lang="en-US"/>
              <a:t>We handle the purchase of goods and services (except for construction and design) through competitive bidding and open market methods.</a:t>
            </a:r>
          </a:p>
          <a:p>
            <a:pPr>
              <a:buNone/>
            </a:pPr>
            <a:endParaRPr lang="en-US"/>
          </a:p>
          <a:p>
            <a:pPr>
              <a:buNone/>
            </a:pPr>
            <a:r>
              <a:rPr lang="en-US"/>
              <a:t>Everything we do adheres to city rules and guidelines to ensure fairness and accountability.</a:t>
            </a:r>
          </a:p>
          <a:p>
            <a:pPr>
              <a:buNone/>
            </a:pPr>
            <a:endParaRPr lang="en-US"/>
          </a:p>
          <a:p>
            <a:pPr>
              <a:buNone/>
            </a:pPr>
            <a:r>
              <a:rPr lang="en-US"/>
              <a:t>Our primary responsibilities include managing bids and contracts, tracking assets and surplus sales, collaborating with vendors, and promoting sustainable purchasing practices.</a:t>
            </a:r>
          </a:p>
          <a:p>
            <a:pPr>
              <a:buNone/>
            </a:pPr>
            <a:endParaRPr lang="en-US"/>
          </a:p>
          <a:p>
            <a:pPr>
              <a:buNone/>
            </a:pPr>
            <a:r>
              <a:rPr lang="en-US"/>
              <a:t>If you’re a vendor, all opportunities are posted on </a:t>
            </a:r>
            <a:r>
              <a:rPr lang="en-US" err="1"/>
              <a:t>BidNet</a:t>
            </a:r>
            <a:r>
              <a:rPr lang="en-US"/>
              <a:t>, the Rocky Mountain E-Purchasing System.</a:t>
            </a:r>
          </a:p>
          <a:p>
            <a:pPr>
              <a:buNone/>
            </a:pPr>
            <a:endParaRPr lang="en-US"/>
          </a:p>
          <a:p>
            <a:pPr>
              <a:buNone/>
            </a:pPr>
            <a:r>
              <a:rPr lang="en-US"/>
              <a:t>You’ll also find bid tools, updates, and helpful info on our website.</a:t>
            </a:r>
          </a:p>
          <a:p>
            <a:pPr>
              <a:buNone/>
            </a:pPr>
            <a:endParaRPr lang="en-US"/>
          </a:p>
          <a:p>
            <a:pPr>
              <a:buNone/>
            </a:pPr>
            <a:r>
              <a:rPr lang="en-US"/>
              <a:t>We send weekly emails with new bids, events, and important opportunities.</a:t>
            </a:r>
          </a:p>
          <a:p>
            <a:pPr>
              <a:buNone/>
            </a:pPr>
            <a:endParaRPr lang="en-US"/>
          </a:p>
          <a:p>
            <a:r>
              <a:rPr lang="en-US"/>
              <a:t>To learn more, visit me in the breakout room and scan the QR code.</a:t>
            </a:r>
          </a:p>
        </p:txBody>
      </p:sp>
      <p:sp>
        <p:nvSpPr>
          <p:cNvPr id="4" name="Slide Number Placeholder 3"/>
          <p:cNvSpPr>
            <a:spLocks noGrp="1"/>
          </p:cNvSpPr>
          <p:nvPr>
            <p:ph type="sldNum" sz="quarter" idx="5"/>
          </p:nvPr>
        </p:nvSpPr>
        <p:spPr/>
        <p:txBody>
          <a:bodyPr/>
          <a:lstStyle/>
          <a:p>
            <a:fld id="{A399344F-1846-964E-A23F-F797EB56DD37}" type="slidenum">
              <a:rPr lang="en-US" smtClean="0"/>
              <a:t>53</a:t>
            </a:fld>
            <a:endParaRPr lang="en-US"/>
          </a:p>
        </p:txBody>
      </p:sp>
    </p:spTree>
    <p:extLst>
      <p:ext uri="{BB962C8B-B14F-4D97-AF65-F5344CB8AC3E}">
        <p14:creationId xmlns:p14="http://schemas.microsoft.com/office/powerpoint/2010/main" val="40628661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A8D7B-0E66-F1E0-17AA-3768A85EAA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3CF90E-EEF9-B3B7-960D-EFCAD95EEA8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85BCA14-F17C-F1CC-98E0-CCF48584820A}"/>
              </a:ext>
            </a:extLst>
          </p:cNvPr>
          <p:cNvSpPr>
            <a:spLocks noGrp="1"/>
          </p:cNvSpPr>
          <p:nvPr>
            <p:ph type="body" idx="1"/>
          </p:nvPr>
        </p:nvSpPr>
        <p:spPr/>
        <p:txBody>
          <a:bodyPr/>
          <a:lstStyle/>
          <a:p>
            <a:pPr>
              <a:buNone/>
            </a:pPr>
            <a:r>
              <a:rPr lang="en-US" b="1"/>
              <a:t>45- 60 Seconds Max</a:t>
            </a:r>
          </a:p>
        </p:txBody>
      </p:sp>
      <p:sp>
        <p:nvSpPr>
          <p:cNvPr id="4" name="Slide Number Placeholder 3">
            <a:extLst>
              <a:ext uri="{FF2B5EF4-FFF2-40B4-BE49-F238E27FC236}">
                <a16:creationId xmlns:a16="http://schemas.microsoft.com/office/drawing/2014/main" id="{6675DBBC-0B0B-054E-BD52-6C406065CFD1}"/>
              </a:ext>
            </a:extLst>
          </p:cNvPr>
          <p:cNvSpPr>
            <a:spLocks noGrp="1"/>
          </p:cNvSpPr>
          <p:nvPr>
            <p:ph type="sldNum" sz="quarter" idx="5"/>
          </p:nvPr>
        </p:nvSpPr>
        <p:spPr/>
        <p:txBody>
          <a:bodyPr/>
          <a:lstStyle/>
          <a:p>
            <a:pPr defTabSz="933237">
              <a:defRPr/>
            </a:pPr>
            <a:fld id="{6F1B017F-DE3E-F34F-84F6-EBAD3A856631}" type="slidenum">
              <a:rPr lang="en-US">
                <a:solidFill>
                  <a:prstClr val="black"/>
                </a:solidFill>
                <a:latin typeface="Calibri" panose="020F0502020204030204"/>
              </a:rPr>
              <a:pPr defTabSz="933237">
                <a:defRPr/>
              </a:pPr>
              <a:t>55</a:t>
            </a:fld>
            <a:endParaRPr lang="en-US">
              <a:solidFill>
                <a:prstClr val="black"/>
              </a:solidFill>
              <a:latin typeface="Calibri" panose="020F0502020204030204"/>
            </a:endParaRPr>
          </a:p>
        </p:txBody>
      </p:sp>
    </p:spTree>
    <p:extLst>
      <p:ext uri="{BB962C8B-B14F-4D97-AF65-F5344CB8AC3E}">
        <p14:creationId xmlns:p14="http://schemas.microsoft.com/office/powerpoint/2010/main" val="22189913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a:buNone/>
            </a:pPr>
            <a:r>
              <a:rPr lang="en-US"/>
              <a:t>After today’s event, we’ll send all attendees a follow-up email from Eventbrite.com. This email will include the registration list and the presentations.</a:t>
            </a:r>
          </a:p>
          <a:p>
            <a:pPr>
              <a:buNone/>
            </a:pPr>
            <a:endParaRPr lang="en-US"/>
          </a:p>
          <a:p>
            <a:pPr>
              <a:buNone/>
            </a:pPr>
            <a:r>
              <a:rPr lang="en-US"/>
              <a:t>You can also find this information on our website within the next three business days.</a:t>
            </a:r>
          </a:p>
          <a:p>
            <a:pPr>
              <a:buNone/>
            </a:pPr>
            <a:endParaRPr lang="en-US"/>
          </a:p>
          <a:p>
            <a:r>
              <a:rPr lang="en-US"/>
              <a:t>Finally, please take a moment to complete the post-event survey — your feedback helps us improve future events.</a:t>
            </a:r>
          </a:p>
          <a:p>
            <a:endParaRPr lang="en-US"/>
          </a:p>
        </p:txBody>
      </p:sp>
      <p:sp>
        <p:nvSpPr>
          <p:cNvPr id="4" name="Slide Number Placeholder 3"/>
          <p:cNvSpPr>
            <a:spLocks noGrp="1"/>
          </p:cNvSpPr>
          <p:nvPr>
            <p:ph type="sldNum" sz="quarter" idx="5"/>
          </p:nvPr>
        </p:nvSpPr>
        <p:spPr/>
        <p:txBody>
          <a:bodyPr/>
          <a:lstStyle/>
          <a:p>
            <a:fld id="{A399344F-1846-964E-A23F-F797EB56DD37}" type="slidenum">
              <a:rPr lang="en-US" smtClean="0"/>
              <a:t>56</a:t>
            </a:fld>
            <a:endParaRPr lang="en-US"/>
          </a:p>
        </p:txBody>
      </p:sp>
    </p:spTree>
    <p:extLst>
      <p:ext uri="{BB962C8B-B14F-4D97-AF65-F5344CB8AC3E}">
        <p14:creationId xmlns:p14="http://schemas.microsoft.com/office/powerpoint/2010/main" val="2902084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fontAlgn="t"/>
            <a:r>
              <a:rPr lang="en-US" sz="1200" b="0" i="0" kern="1200">
                <a:solidFill>
                  <a:schemeClr val="tx1"/>
                </a:solidFill>
                <a:effectLst/>
                <a:latin typeface="+mn-lt"/>
                <a:ea typeface="+mn-ea"/>
                <a:cs typeface="+mn-cs"/>
              </a:rPr>
              <a:t>Please take a moment to complete the Project Interest Form. This helps us learn who you are, what your company does, and which projects interest you. The information will be included in the follow‑up email and posted on our website within</a:t>
            </a:r>
            <a:r>
              <a:rPr lang="en-US" sz="1200" b="1" i="0" kern="1200">
                <a:solidFill>
                  <a:schemeClr val="tx1"/>
                </a:solidFill>
                <a:effectLst/>
                <a:latin typeface="+mn-lt"/>
                <a:ea typeface="+mn-ea"/>
                <a:cs typeface="+mn-cs"/>
              </a:rPr>
              <a:t> three business days.</a:t>
            </a:r>
          </a:p>
          <a:p>
            <a:pPr fontAlgn="t"/>
            <a:endParaRPr lang="en-US" sz="1200" b="0" i="0" kern="1200">
              <a:solidFill>
                <a:schemeClr val="tx1"/>
              </a:solidFill>
              <a:effectLst/>
              <a:latin typeface="+mn-lt"/>
              <a:ea typeface="+mn-ea"/>
              <a:cs typeface="+mn-cs"/>
            </a:endParaRPr>
          </a:p>
          <a:p>
            <a:pPr fontAlgn="t"/>
            <a:endParaRPr lang="en-US" sz="1200" b="0" i="0" kern="1200">
              <a:solidFill>
                <a:schemeClr val="tx1"/>
              </a:solidFill>
              <a:effectLst/>
              <a:latin typeface="+mn-lt"/>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lt;&lt;Next Slide&gt;&gt;</a:t>
            </a:r>
          </a:p>
          <a:p>
            <a:pPr fontAlgn="t"/>
            <a:endParaRPr lang="en-US" sz="1200" b="0" i="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399344F-1846-964E-A23F-F797EB56DD37}" type="slidenum">
              <a:rPr lang="en-US" smtClean="0"/>
              <a:t>4</a:t>
            </a:fld>
            <a:endParaRPr lang="en-US"/>
          </a:p>
        </p:txBody>
      </p:sp>
    </p:spTree>
    <p:extLst>
      <p:ext uri="{BB962C8B-B14F-4D97-AF65-F5344CB8AC3E}">
        <p14:creationId xmlns:p14="http://schemas.microsoft.com/office/powerpoint/2010/main" val="17211669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fontAlgn="t"/>
            <a:r>
              <a:rPr lang="en-US" sz="1200" b="0" i="0" kern="1200">
                <a:solidFill>
                  <a:schemeClr val="tx1"/>
                </a:solidFill>
                <a:effectLst/>
                <a:latin typeface="+mn-lt"/>
                <a:ea typeface="+mn-ea"/>
                <a:cs typeface="+mn-cs"/>
              </a:rPr>
              <a:t>Vision 100 focuses on preparing the airport to serve 100 million annual passengers while continuing to invest in our people, our infrastructure, and the customer experience.</a:t>
            </a:r>
          </a:p>
          <a:p>
            <a:pPr fontAlgn="t"/>
            <a:endParaRPr lang="en-US" sz="1200" b="0" i="0" kern="1200">
              <a:solidFill>
                <a:schemeClr val="tx1"/>
              </a:solidFill>
              <a:effectLst/>
              <a:latin typeface="+mn-lt"/>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Now let’s take a look at one of the ways we help the business community stay connected, our Taking Flight at DEN events. &lt;&lt;Next Slide&gt;&gt;</a:t>
            </a:r>
          </a:p>
          <a:p>
            <a:pPr fontAlgn="t"/>
            <a:endParaRPr lang="en-US" sz="1200" b="0" i="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defTabSz="933237">
              <a:defRPr/>
            </a:pPr>
            <a:fld id="{A399344F-1846-964E-A23F-F797EB56DD37}" type="slidenum">
              <a:rPr lang="en-US">
                <a:solidFill>
                  <a:prstClr val="black"/>
                </a:solidFill>
                <a:latin typeface="Calibri" panose="020F0502020204030204"/>
              </a:rPr>
              <a:pPr defTabSz="933237">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15176608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fontAlgn="t"/>
            <a:r>
              <a:rPr lang="en-US" sz="1200" b="0" i="0" kern="1200">
                <a:solidFill>
                  <a:schemeClr val="tx1"/>
                </a:solidFill>
                <a:effectLst/>
                <a:latin typeface="+mn-lt"/>
                <a:ea typeface="+mn-ea"/>
                <a:cs typeface="+mn-cs"/>
              </a:rPr>
              <a:t>Taking Flight at DEN is our monthly opportunity for businesses to connect directly with DEN teams and hear about upcoming procurement opportunities. We host it on the second Thursday of each month at 1 </a:t>
            </a:r>
            <a:r>
              <a:rPr lang="en-US" sz="1200" b="0" i="0" kern="1200" err="1">
                <a:solidFill>
                  <a:schemeClr val="tx1"/>
                </a:solidFill>
                <a:effectLst/>
                <a:latin typeface="+mn-lt"/>
                <a:ea typeface="+mn-ea"/>
                <a:cs typeface="+mn-cs"/>
              </a:rPr>
              <a:t>p.m</a:t>
            </a:r>
            <a:endParaRPr lang="en-US" sz="1200" b="0" i="0" kern="1200">
              <a:solidFill>
                <a:schemeClr val="tx1"/>
              </a:solidFill>
              <a:effectLst/>
              <a:latin typeface="+mn-lt"/>
              <a:ea typeface="+mn-ea"/>
              <a:cs typeface="+mn-cs"/>
            </a:endParaRPr>
          </a:p>
          <a:p>
            <a:pPr defTabSz="685800">
              <a:defRPr/>
            </a:pPr>
            <a:endParaRPr lang="en-US" b="0" i="0">
              <a:solidFill>
                <a:srgbClr val="8C9EBC"/>
              </a:solidFill>
              <a:effectLst/>
              <a:latin typeface="Inter"/>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In addition to monthly outreach, we also host targeted sessions to help firms connect with the right partners. &lt;&lt;Next Slide&gt;&gt;</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defTabSz="685800">
              <a:defRPr/>
            </a:pPr>
            <a:endParaRPr lang="en-US" b="0" i="0">
              <a:solidFill>
                <a:srgbClr val="8C9EBC"/>
              </a:solidFill>
              <a:effectLst/>
              <a:latin typeface="Inter"/>
            </a:endParaRPr>
          </a:p>
          <a:p>
            <a:pPr defTabSz="685800">
              <a:defRPr/>
            </a:pPr>
            <a:endParaRPr lang="en-US" b="0" i="0">
              <a:solidFill>
                <a:srgbClr val="8C9EBC"/>
              </a:solidFill>
              <a:effectLst/>
              <a:latin typeface="Inter"/>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99344F-1846-964E-A23F-F797EB56DD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103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4FC51C-101F-EC88-FFA6-FC734B8853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15A79C-1CB7-BC0B-C748-8531E7277D3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9505146-3BF5-643E-6E7B-3A7F84AF20F8}"/>
              </a:ext>
            </a:extLst>
          </p:cNvPr>
          <p:cNvSpPr>
            <a:spLocks noGrp="1"/>
          </p:cNvSpPr>
          <p:nvPr>
            <p:ph type="body" idx="1"/>
          </p:nvPr>
        </p:nvSpPr>
        <p:spPr/>
        <p:txBody>
          <a:bodyPr/>
          <a:lstStyle/>
          <a:p>
            <a:pPr fontAlgn="t"/>
            <a:r>
              <a:rPr lang="en-US" sz="1200" b="0" i="0" kern="1200">
                <a:solidFill>
                  <a:schemeClr val="tx1"/>
                </a:solidFill>
                <a:effectLst/>
                <a:latin typeface="+mn-lt"/>
                <a:ea typeface="+mn-ea"/>
                <a:cs typeface="+mn-cs"/>
              </a:rPr>
              <a:t>Meet the Primes is held every other month and connects prime firms with local, small, and historically underutilized businesses. Each session focuses on a different industry area and is a great way to build relationships and explore partnership opportunities.</a:t>
            </a:r>
          </a:p>
          <a:p>
            <a:pPr fontAlgn="t"/>
            <a:endParaRPr lang="en-US" sz="1200" b="0" i="0" kern="1200">
              <a:solidFill>
                <a:schemeClr val="tx1"/>
              </a:solidFill>
              <a:effectLst/>
              <a:latin typeface="+mn-lt"/>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Next, let’s look at another series designed specifically to support ACDBE concession businesses. &lt;&lt;Next Slide&gt;&gt;</a:t>
            </a:r>
          </a:p>
          <a:p>
            <a:pPr marL="0" marR="0" lvl="0" indent="0" algn="l" defTabSz="914400" rtl="0" eaLnBrk="1" fontAlgn="t"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fontAlgn="t"/>
            <a:endParaRPr lang="en-US" sz="1200" b="0" i="0" kern="1200">
              <a:solidFill>
                <a:schemeClr val="tx1"/>
              </a:solidFill>
              <a:effectLst/>
              <a:latin typeface="+mn-lt"/>
              <a:ea typeface="+mn-ea"/>
              <a:cs typeface="+mn-cs"/>
            </a:endParaRPr>
          </a:p>
          <a:p>
            <a:pPr marL="0" marR="0" lvl="0" indent="0" algn="l" defTabSz="685800" rtl="0" eaLnBrk="1" fontAlgn="auto" latinLnBrk="0" hangingPunct="1">
              <a:lnSpc>
                <a:spcPct val="115000"/>
              </a:lnSpc>
              <a:spcBef>
                <a:spcPts val="0"/>
              </a:spcBef>
              <a:spcAft>
                <a:spcPts val="0"/>
              </a:spcAft>
              <a:buClrTx/>
              <a:buSzTx/>
              <a:buFont typeface="Symbol" panose="05050102010706020507" pitchFamily="18" charset="2"/>
              <a:buNone/>
              <a:tabLst>
                <a:tab pos="1428750" algn="l"/>
              </a:tabLst>
              <a:defRPr/>
            </a:pPr>
            <a:endParaRPr lang="en-US" sz="3600" b="0" i="0">
              <a:solidFill>
                <a:srgbClr val="1C1C1C"/>
              </a:solidFill>
              <a:effectLst/>
              <a:latin typeface="Inter"/>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FC43966B-43A4-DE01-144E-1068262887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99344F-1846-964E-A23F-F797EB56DD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14450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fontAlgn="t"/>
            <a:r>
              <a:rPr lang="en-US" sz="1200" b="0" i="0" kern="1200">
                <a:solidFill>
                  <a:schemeClr val="tx1"/>
                </a:solidFill>
                <a:effectLst/>
                <a:latin typeface="+mn-lt"/>
                <a:ea typeface="+mn-ea"/>
                <a:cs typeface="+mn-cs"/>
              </a:rPr>
              <a:t>The Navigating the ACDBE Series is held every other month and is designed to help ACDBE concession businesses understand how to do business at DEN. Each session focuses on a different topic to support firms throughout the process.</a:t>
            </a:r>
          </a:p>
          <a:p>
            <a:pPr fontAlgn="t"/>
            <a:endParaRPr lang="en-US" sz="1200" b="0" i="0" kern="1200">
              <a:solidFill>
                <a:schemeClr val="tx1"/>
              </a:solidFill>
              <a:effectLst/>
              <a:latin typeface="+mn-lt"/>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Next, let’s take a look at our Small Business Certification Workshops. &lt;&lt;Next Slide&gt;&gt;</a:t>
            </a:r>
          </a:p>
          <a:p>
            <a:pPr marL="0" marR="0" lvl="0" indent="0" algn="l" defTabSz="914400" rtl="0" eaLnBrk="1" fontAlgn="t"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fontAlgn="t"/>
            <a:endParaRPr lang="en-US" sz="1200" b="0" i="0" kern="1200">
              <a:solidFill>
                <a:schemeClr val="tx1"/>
              </a:solidFill>
              <a:effectLst/>
              <a:latin typeface="+mn-lt"/>
              <a:ea typeface="+mn-ea"/>
              <a:cs typeface="+mn-cs"/>
            </a:endParaRPr>
          </a:p>
          <a:p>
            <a:pPr fontAlgn="t"/>
            <a:endParaRPr lang="en-US" sz="1200" b="0" i="0" kern="1200">
              <a:solidFill>
                <a:schemeClr val="tx1"/>
              </a:solidFill>
              <a:effectLst/>
              <a:latin typeface="+mn-lt"/>
              <a:ea typeface="+mn-ea"/>
              <a:cs typeface="+mn-cs"/>
            </a:endParaRPr>
          </a:p>
          <a:p>
            <a:pPr defTabSz="685800">
              <a:lnSpc>
                <a:spcPct val="115000"/>
              </a:lnSpc>
              <a:tabLst>
                <a:tab pos="1428750" algn="l"/>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99344F-1846-964E-A23F-F797EB56DD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14535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3E392-5C54-AD8D-5935-5F58AD6AFA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5CF5EB-B81E-2C51-F915-304E324E865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4C349A3-5352-E902-F4DE-F54BAF94C9A3}"/>
              </a:ext>
            </a:extLst>
          </p:cNvPr>
          <p:cNvSpPr>
            <a:spLocks noGrp="1"/>
          </p:cNvSpPr>
          <p:nvPr>
            <p:ph type="body" idx="1"/>
          </p:nvPr>
        </p:nvSpPr>
        <p:spPr/>
        <p:txBody>
          <a:bodyPr/>
          <a:lstStyle/>
          <a:p>
            <a:pPr fontAlgn="t"/>
            <a:r>
              <a:rPr lang="en-US" sz="1200" b="0" i="0" kern="1200">
                <a:solidFill>
                  <a:schemeClr val="tx1"/>
                </a:solidFill>
                <a:effectLst/>
                <a:latin typeface="+mn-lt"/>
                <a:ea typeface="+mn-ea"/>
                <a:cs typeface="+mn-cs"/>
              </a:rPr>
              <a:t>Our ACDBE team and Division of Small Business Opportunity have partnered on the Small Business Certification Workshops held throughout the year to support firms that are early in the process or looking to get certified. </a:t>
            </a:r>
          </a:p>
          <a:p>
            <a:pPr fontAlgn="t"/>
            <a:endParaRPr lang="en-US" sz="1200" b="0" i="0" kern="1200">
              <a:solidFill>
                <a:schemeClr val="tx1"/>
              </a:solidFill>
              <a:effectLst/>
              <a:latin typeface="+mn-lt"/>
              <a:ea typeface="+mn-ea"/>
              <a:cs typeface="+mn-cs"/>
            </a:endParaRPr>
          </a:p>
          <a:p>
            <a:pPr fontAlgn="t"/>
            <a:r>
              <a:rPr lang="en-US" sz="1200" b="0" i="0" kern="1200">
                <a:solidFill>
                  <a:schemeClr val="tx1"/>
                </a:solidFill>
                <a:effectLst/>
                <a:latin typeface="+mn-lt"/>
                <a:ea typeface="+mn-ea"/>
                <a:cs typeface="+mn-cs"/>
              </a:rPr>
              <a:t>These in‑person sessions help businesses understand requirements and get set up for success.</a:t>
            </a:r>
          </a:p>
          <a:p>
            <a:pPr fontAlgn="t"/>
            <a:endParaRPr lang="en-US" sz="1200" b="0" i="0" kern="1200">
              <a:solidFill>
                <a:schemeClr val="tx1"/>
              </a:solidFill>
              <a:effectLst/>
              <a:latin typeface="+mn-lt"/>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lt;&lt;Next Slide&gt;&gt;</a:t>
            </a:r>
          </a:p>
          <a:p>
            <a:pPr fontAlgn="t"/>
            <a:endParaRPr lang="en-US" sz="1200" b="0" i="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AEE2162C-D640-4283-A589-36A8D7D320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99344F-1846-964E-A23F-F797EB56DD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7786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3.xml"/><Relationship Id="rId7" Type="http://schemas.openxmlformats.org/officeDocument/2006/relationships/image" Target="../media/image2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2.png"/><Relationship Id="rId5" Type="http://schemas.openxmlformats.org/officeDocument/2006/relationships/image" Target="../media/image23.png"/><Relationship Id="rId4"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2.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7.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8.xml"/><Relationship Id="rId7" Type="http://schemas.openxmlformats.org/officeDocument/2006/relationships/image" Target="../media/image18.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2.png"/><Relationship Id="rId5" Type="http://schemas.openxmlformats.org/officeDocument/2006/relationships/image" Target="../media/image23.png"/><Relationship Id="rId4"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2.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3.xml"/><Relationship Id="rId7" Type="http://schemas.openxmlformats.org/officeDocument/2006/relationships/image" Target="../media/image21.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23.png"/><Relationship Id="rId4"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2.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green">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2390692" y="946484"/>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13" name="Text Placeholder 12">
            <a:extLst>
              <a:ext uri="{FF2B5EF4-FFF2-40B4-BE49-F238E27FC236}">
                <a16:creationId xmlns:a16="http://schemas.microsoft.com/office/drawing/2014/main" id="{D012BFE2-0CCB-578A-559A-8D1EB54F565C}"/>
              </a:ext>
            </a:extLst>
          </p:cNvPr>
          <p:cNvSpPr>
            <a:spLocks noGrp="1"/>
          </p:cNvSpPr>
          <p:nvPr>
            <p:ph type="body" sz="quarter" idx="11" hasCustomPrompt="1"/>
          </p:nvPr>
        </p:nvSpPr>
        <p:spPr>
          <a:xfrm>
            <a:off x="2390692" y="1540844"/>
            <a:ext cx="8694738"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625726" y="6064376"/>
            <a:ext cx="2021222" cy="432677"/>
          </a:xfrm>
          <a:prstGeom prst="rect">
            <a:avLst/>
          </a:prstGeom>
        </p:spPr>
        <p:txBody>
          <a:bodyPr/>
          <a:lstStyle>
            <a:lvl1pPr marL="0" indent="0">
              <a:buNone/>
              <a:defRPr sz="1800" b="1" spc="300">
                <a:solidFill>
                  <a:schemeClr val="bg1"/>
                </a:solidFill>
              </a:defRPr>
            </a:lvl1pPr>
            <a:lvl3pPr marL="914400" indent="0" algn="l">
              <a:buFont typeface="Arial" panose="020B0604020202020204" pitchFamily="34" charset="0"/>
              <a:buNone/>
              <a:defRPr/>
            </a:lvl3pPr>
          </a:lstStyle>
          <a:p>
            <a:pPr lvl="0"/>
            <a:r>
              <a:rPr lang="en-US"/>
              <a:t>MONTH 2024</a:t>
            </a:r>
          </a:p>
        </p:txBody>
      </p:sp>
      <p:cxnSp>
        <p:nvCxnSpPr>
          <p:cNvPr id="2" name="Straight Connector 1">
            <a:extLst>
              <a:ext uri="{FF2B5EF4-FFF2-40B4-BE49-F238E27FC236}">
                <a16:creationId xmlns:a16="http://schemas.microsoft.com/office/drawing/2014/main" id="{B5590243-0B56-53E5-E3C6-D02EFE2FA9C2}"/>
              </a:ext>
            </a:extLst>
          </p:cNvPr>
          <p:cNvCxnSpPr/>
          <p:nvPr userDrawn="1"/>
        </p:nvCxnSpPr>
        <p:spPr>
          <a:xfrm>
            <a:off x="721526" y="5874026"/>
            <a:ext cx="640080" cy="0"/>
          </a:xfrm>
          <a:prstGeom prst="line">
            <a:avLst/>
          </a:prstGeom>
          <a:ln w="76200">
            <a:solidFill>
              <a:srgbClr val="C3D83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94981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3 - green">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754062" y="6080418"/>
            <a:ext cx="2021222" cy="432677"/>
          </a:xfrm>
          <a:prstGeom prst="rect">
            <a:avLst/>
          </a:prstGeom>
        </p:spPr>
        <p:txBody>
          <a:bodyPr/>
          <a:lstStyle>
            <a:lvl1pPr marL="0" indent="0">
              <a:buNone/>
              <a:defRPr sz="1800" b="1" spc="300">
                <a:solidFill>
                  <a:schemeClr val="bg1"/>
                </a:solidFill>
              </a:defRPr>
            </a:lvl1pPr>
            <a:lvl3pPr marL="914400" indent="0" algn="l">
              <a:buFont typeface="Arial" panose="020B0604020202020204" pitchFamily="34" charset="0"/>
              <a:buNone/>
              <a:defRPr/>
            </a:lvl3pPr>
          </a:lstStyle>
          <a:p>
            <a:pPr lvl="0"/>
            <a:r>
              <a:rPr lang="en-US"/>
              <a:t>MONTH 2024</a:t>
            </a:r>
          </a:p>
        </p:txBody>
      </p:sp>
      <p:sp>
        <p:nvSpPr>
          <p:cNvPr id="2" name="Text Placeholder 9">
            <a:extLst>
              <a:ext uri="{FF2B5EF4-FFF2-40B4-BE49-F238E27FC236}">
                <a16:creationId xmlns:a16="http://schemas.microsoft.com/office/drawing/2014/main" id="{183D4F33-6888-DA4B-0201-F604FCC31187}"/>
              </a:ext>
            </a:extLst>
          </p:cNvPr>
          <p:cNvSpPr>
            <a:spLocks noGrp="1"/>
          </p:cNvSpPr>
          <p:nvPr>
            <p:ph type="body" sz="quarter" idx="13" hasCustomPrompt="1"/>
          </p:nvPr>
        </p:nvSpPr>
        <p:spPr>
          <a:xfrm>
            <a:off x="762418" y="4547937"/>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3" name="Text Placeholder 12">
            <a:extLst>
              <a:ext uri="{FF2B5EF4-FFF2-40B4-BE49-F238E27FC236}">
                <a16:creationId xmlns:a16="http://schemas.microsoft.com/office/drawing/2014/main" id="{DCCF9B7F-6200-57BA-9418-F486917F2D3F}"/>
              </a:ext>
            </a:extLst>
          </p:cNvPr>
          <p:cNvSpPr>
            <a:spLocks noGrp="1"/>
          </p:cNvSpPr>
          <p:nvPr>
            <p:ph type="body" sz="quarter" idx="14" hasCustomPrompt="1"/>
          </p:nvPr>
        </p:nvSpPr>
        <p:spPr>
          <a:xfrm>
            <a:off x="762418" y="5142297"/>
            <a:ext cx="8694738"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cxnSp>
        <p:nvCxnSpPr>
          <p:cNvPr id="4" name="Straight Connector 3">
            <a:extLst>
              <a:ext uri="{FF2B5EF4-FFF2-40B4-BE49-F238E27FC236}">
                <a16:creationId xmlns:a16="http://schemas.microsoft.com/office/drawing/2014/main" id="{80F5791E-E5A0-BB60-8A49-2EFC0F8381F3}"/>
              </a:ext>
            </a:extLst>
          </p:cNvPr>
          <p:cNvCxnSpPr/>
          <p:nvPr userDrawn="1"/>
        </p:nvCxnSpPr>
        <p:spPr>
          <a:xfrm>
            <a:off x="866080" y="5986321"/>
            <a:ext cx="640080" cy="0"/>
          </a:xfrm>
          <a:prstGeom prst="line">
            <a:avLst/>
          </a:prstGeom>
          <a:ln w="76200">
            <a:solidFill>
              <a:srgbClr val="C3D83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185305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and Image 2">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62816AD-37BF-232F-6F27-566D2013CECD}"/>
              </a:ext>
            </a:extLst>
          </p:cNvPr>
          <p:cNvSpPr/>
          <p:nvPr userDrawn="1"/>
        </p:nvSpPr>
        <p:spPr>
          <a:xfrm flipH="1">
            <a:off x="7616825" y="4575175"/>
            <a:ext cx="4575172" cy="228282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Content Placeholder 2">
            <a:extLst>
              <a:ext uri="{FF2B5EF4-FFF2-40B4-BE49-F238E27FC236}">
                <a16:creationId xmlns:a16="http://schemas.microsoft.com/office/drawing/2014/main" id="{A455BF96-EDC6-BF1D-9B02-8D224416D8B2}"/>
              </a:ext>
            </a:extLst>
          </p:cNvPr>
          <p:cNvSpPr>
            <a:spLocks noGrp="1"/>
          </p:cNvSpPr>
          <p:nvPr>
            <p:ph idx="1"/>
          </p:nvPr>
        </p:nvSpPr>
        <p:spPr>
          <a:xfrm>
            <a:off x="381000" y="1520825"/>
            <a:ext cx="6854825" cy="45751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2" name="Title 1">
            <a:extLst>
              <a:ext uri="{FF2B5EF4-FFF2-40B4-BE49-F238E27FC236}">
                <a16:creationId xmlns:a16="http://schemas.microsoft.com/office/drawing/2014/main" id="{28B7ABED-858C-78E9-F77A-0E04D5A3A79F}"/>
              </a:ext>
            </a:extLst>
          </p:cNvPr>
          <p:cNvSpPr>
            <a:spLocks noGrp="1"/>
          </p:cNvSpPr>
          <p:nvPr>
            <p:ph type="title"/>
          </p:nvPr>
        </p:nvSpPr>
        <p:spPr>
          <a:xfrm>
            <a:off x="381001" y="346076"/>
            <a:ext cx="6854822" cy="443198"/>
          </a:xfrm>
        </p:spPr>
        <p:txBody>
          <a:bodyPr>
            <a:spAutoFit/>
          </a:bodyPr>
          <a:lstStyle/>
          <a:p>
            <a:r>
              <a:rPr lang="en-GB"/>
              <a:t>Click to edit Master title style</a:t>
            </a:r>
            <a:endParaRPr lang="en-US"/>
          </a:p>
        </p:txBody>
      </p:sp>
      <p:sp>
        <p:nvSpPr>
          <p:cNvPr id="18" name="Rectangle 17">
            <a:extLst>
              <a:ext uri="{FF2B5EF4-FFF2-40B4-BE49-F238E27FC236}">
                <a16:creationId xmlns:a16="http://schemas.microsoft.com/office/drawing/2014/main" id="{1E29A78F-1550-B668-61B1-8F7CFC9BF631}"/>
              </a:ext>
            </a:extLst>
          </p:cNvPr>
          <p:cNvSpPr/>
          <p:nvPr userDrawn="1"/>
        </p:nvSpPr>
        <p:spPr>
          <a:xfrm>
            <a:off x="0" y="383004"/>
            <a:ext cx="93453" cy="76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Picture Placeholder 7">
            <a:extLst>
              <a:ext uri="{FF2B5EF4-FFF2-40B4-BE49-F238E27FC236}">
                <a16:creationId xmlns:a16="http://schemas.microsoft.com/office/drawing/2014/main" id="{020D4EAE-5972-7736-C107-904B6028A6AC}"/>
              </a:ext>
            </a:extLst>
          </p:cNvPr>
          <p:cNvSpPr>
            <a:spLocks noGrp="1"/>
          </p:cNvSpPr>
          <p:nvPr>
            <p:ph type="pic" sz="quarter" idx="18"/>
          </p:nvPr>
        </p:nvSpPr>
        <p:spPr>
          <a:xfrm>
            <a:off x="7616825" y="-1"/>
            <a:ext cx="4575176" cy="4575176"/>
          </a:xfrm>
          <a:solidFill>
            <a:schemeClr val="tx2"/>
          </a:solidFill>
        </p:spPr>
        <p:txBody>
          <a:bodyPr/>
          <a:lstStyle>
            <a:lvl1pPr>
              <a:defRPr>
                <a:solidFill>
                  <a:schemeClr val="bg1"/>
                </a:solidFill>
              </a:defRPr>
            </a:lvl1pPr>
          </a:lstStyle>
          <a:p>
            <a:endParaRPr lang="en-GB"/>
          </a:p>
        </p:txBody>
      </p:sp>
      <p:sp>
        <p:nvSpPr>
          <p:cNvPr id="3" name="Footer Placeholder 2">
            <a:extLst>
              <a:ext uri="{FF2B5EF4-FFF2-40B4-BE49-F238E27FC236}">
                <a16:creationId xmlns:a16="http://schemas.microsoft.com/office/drawing/2014/main" id="{90EF8666-B2AE-6B15-C1E1-C34870D10792}"/>
              </a:ext>
            </a:extLst>
          </p:cNvPr>
          <p:cNvSpPr>
            <a:spLocks noGrp="1"/>
          </p:cNvSpPr>
          <p:nvPr>
            <p:ph type="ftr" sz="quarter" idx="19"/>
          </p:nvPr>
        </p:nvSpPr>
        <p:spPr/>
        <p:txBody>
          <a:bodyPr/>
          <a:lstStyle>
            <a:lvl1pPr>
              <a:defRPr>
                <a:solidFill>
                  <a:schemeClr val="bg1"/>
                </a:solidFill>
              </a:defRPr>
            </a:lvl1pPr>
          </a:lstStyle>
          <a:p>
            <a:r>
              <a:rPr lang="en-GB"/>
              <a:t>Slide footer </a:t>
            </a:r>
          </a:p>
        </p:txBody>
      </p:sp>
      <p:sp>
        <p:nvSpPr>
          <p:cNvPr id="6" name="Slide Number Placeholder 5">
            <a:extLst>
              <a:ext uri="{FF2B5EF4-FFF2-40B4-BE49-F238E27FC236}">
                <a16:creationId xmlns:a16="http://schemas.microsoft.com/office/drawing/2014/main" id="{F369331E-EBA1-ECA8-4FB1-72711823F4F1}"/>
              </a:ext>
            </a:extLst>
          </p:cNvPr>
          <p:cNvSpPr>
            <a:spLocks noGrp="1"/>
          </p:cNvSpPr>
          <p:nvPr>
            <p:ph type="sldNum" sz="quarter" idx="20"/>
          </p:nvPr>
        </p:nvSpPr>
        <p:spPr/>
        <p:txBody>
          <a:bodyPr/>
          <a:lstStyle>
            <a:lvl1pPr>
              <a:defRPr>
                <a:solidFill>
                  <a:schemeClr val="bg1"/>
                </a:solidFill>
              </a:defRPr>
            </a:lvl1pPr>
          </a:lstStyle>
          <a:p>
            <a:fld id="{24FD2396-7F2C-D741-B592-F93892A44B62}" type="slidenum">
              <a:rPr lang="en-GB" smtClean="0"/>
              <a:pPr/>
              <a:t>‹#›</a:t>
            </a:fld>
            <a:endParaRPr lang="en-GB"/>
          </a:p>
        </p:txBody>
      </p:sp>
      <p:sp>
        <p:nvSpPr>
          <p:cNvPr id="21" name="Text Placeholder 8">
            <a:extLst>
              <a:ext uri="{FF2B5EF4-FFF2-40B4-BE49-F238E27FC236}">
                <a16:creationId xmlns:a16="http://schemas.microsoft.com/office/drawing/2014/main" id="{72F6F6B9-4909-4520-B090-2B2273388685}"/>
              </a:ext>
            </a:extLst>
          </p:cNvPr>
          <p:cNvSpPr>
            <a:spLocks noGrp="1"/>
          </p:cNvSpPr>
          <p:nvPr>
            <p:ph type="body" sz="quarter" idx="14" hasCustomPrompt="1"/>
          </p:nvPr>
        </p:nvSpPr>
        <p:spPr>
          <a:xfrm>
            <a:off x="766763" y="6473323"/>
            <a:ext cx="6853237" cy="207393"/>
          </a:xfrm>
        </p:spPr>
        <p:txBody>
          <a:bodyPr vert="horz" lIns="0" tIns="0" rIns="0" bIns="0" rtlCol="0" anchor="t">
            <a:noAutofit/>
          </a:bodyPr>
          <a:lstStyle>
            <a:lvl1pPr marL="0" indent="0">
              <a:buNone/>
              <a:defRPr lang="en-GB" sz="800" i="0" dirty="0">
                <a:solidFill>
                  <a:schemeClr val="bg2"/>
                </a:solidFill>
                <a:effectLst/>
              </a:defRPr>
            </a:lvl1pPr>
          </a:lstStyle>
          <a:p>
            <a:pPr lvl="0">
              <a:spcBef>
                <a:spcPts val="0"/>
              </a:spcBef>
              <a:spcAft>
                <a:spcPts val="0"/>
              </a:spcAft>
            </a:pPr>
            <a:r>
              <a:rPr lang="en-GB"/>
              <a:t>Notes: [Note information]      Source: [1. Source information 2. Source information]</a:t>
            </a:r>
          </a:p>
        </p:txBody>
      </p:sp>
    </p:spTree>
    <p:extLst>
      <p:ext uri="{BB962C8B-B14F-4D97-AF65-F5344CB8AC3E}">
        <p14:creationId xmlns:p14="http://schemas.microsoft.com/office/powerpoint/2010/main" val="386816586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and 2 Imag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39620E4-0650-CC19-EB99-2F397B80F0B2}"/>
              </a:ext>
            </a:extLst>
          </p:cNvPr>
          <p:cNvSpPr/>
          <p:nvPr userDrawn="1"/>
        </p:nvSpPr>
        <p:spPr>
          <a:xfrm flipH="1">
            <a:off x="11426823" y="1"/>
            <a:ext cx="76517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Content Placeholder 2">
            <a:extLst>
              <a:ext uri="{FF2B5EF4-FFF2-40B4-BE49-F238E27FC236}">
                <a16:creationId xmlns:a16="http://schemas.microsoft.com/office/drawing/2014/main" id="{A455BF96-EDC6-BF1D-9B02-8D224416D8B2}"/>
              </a:ext>
            </a:extLst>
          </p:cNvPr>
          <p:cNvSpPr>
            <a:spLocks noGrp="1"/>
          </p:cNvSpPr>
          <p:nvPr>
            <p:ph idx="1"/>
          </p:nvPr>
        </p:nvSpPr>
        <p:spPr>
          <a:xfrm>
            <a:off x="381001" y="1520825"/>
            <a:ext cx="5715002" cy="45751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2" name="Title 1">
            <a:extLst>
              <a:ext uri="{FF2B5EF4-FFF2-40B4-BE49-F238E27FC236}">
                <a16:creationId xmlns:a16="http://schemas.microsoft.com/office/drawing/2014/main" id="{28B7ABED-858C-78E9-F77A-0E04D5A3A79F}"/>
              </a:ext>
            </a:extLst>
          </p:cNvPr>
          <p:cNvSpPr>
            <a:spLocks noGrp="1"/>
          </p:cNvSpPr>
          <p:nvPr>
            <p:ph type="title"/>
          </p:nvPr>
        </p:nvSpPr>
        <p:spPr>
          <a:xfrm>
            <a:off x="381001" y="346076"/>
            <a:ext cx="5714999" cy="443198"/>
          </a:xfrm>
        </p:spPr>
        <p:txBody>
          <a:bodyPr>
            <a:spAutoFit/>
          </a:bodyPr>
          <a:lstStyle/>
          <a:p>
            <a:r>
              <a:rPr lang="en-GB"/>
              <a:t>Click to edit Master title style</a:t>
            </a:r>
            <a:endParaRPr lang="en-US"/>
          </a:p>
        </p:txBody>
      </p:sp>
      <p:sp>
        <p:nvSpPr>
          <p:cNvPr id="19" name="Picture Placeholder 7">
            <a:extLst>
              <a:ext uri="{FF2B5EF4-FFF2-40B4-BE49-F238E27FC236}">
                <a16:creationId xmlns:a16="http://schemas.microsoft.com/office/drawing/2014/main" id="{628CDFCA-C71E-E990-A43D-FFBFA4044EFC}"/>
              </a:ext>
            </a:extLst>
          </p:cNvPr>
          <p:cNvSpPr>
            <a:spLocks noGrp="1"/>
          </p:cNvSpPr>
          <p:nvPr>
            <p:ph type="pic" sz="quarter" idx="17"/>
          </p:nvPr>
        </p:nvSpPr>
        <p:spPr>
          <a:xfrm>
            <a:off x="9143999" y="-1"/>
            <a:ext cx="2282825" cy="6858001"/>
          </a:xfrm>
          <a:solidFill>
            <a:schemeClr val="accent1"/>
          </a:solidFill>
        </p:spPr>
        <p:txBody>
          <a:bodyPr/>
          <a:lstStyle>
            <a:lvl1pPr>
              <a:defRPr>
                <a:solidFill>
                  <a:schemeClr val="bg1"/>
                </a:solidFill>
              </a:defRPr>
            </a:lvl1pPr>
          </a:lstStyle>
          <a:p>
            <a:endParaRPr lang="en-GB"/>
          </a:p>
        </p:txBody>
      </p:sp>
      <p:sp>
        <p:nvSpPr>
          <p:cNvPr id="20" name="Picture Placeholder 7">
            <a:extLst>
              <a:ext uri="{FF2B5EF4-FFF2-40B4-BE49-F238E27FC236}">
                <a16:creationId xmlns:a16="http://schemas.microsoft.com/office/drawing/2014/main" id="{161025AD-AEEB-C6C2-3F2D-24D156D90E93}"/>
              </a:ext>
            </a:extLst>
          </p:cNvPr>
          <p:cNvSpPr>
            <a:spLocks noGrp="1"/>
          </p:cNvSpPr>
          <p:nvPr>
            <p:ph type="pic" sz="quarter" idx="18"/>
          </p:nvPr>
        </p:nvSpPr>
        <p:spPr>
          <a:xfrm>
            <a:off x="6096000" y="-1"/>
            <a:ext cx="3048000" cy="6858002"/>
          </a:xfrm>
          <a:solidFill>
            <a:schemeClr val="tx2"/>
          </a:solidFill>
        </p:spPr>
        <p:txBody>
          <a:bodyPr/>
          <a:lstStyle>
            <a:lvl1pPr>
              <a:defRPr>
                <a:solidFill>
                  <a:schemeClr val="bg1"/>
                </a:solidFill>
              </a:defRPr>
            </a:lvl1pPr>
          </a:lstStyle>
          <a:p>
            <a:endParaRPr lang="en-GB"/>
          </a:p>
        </p:txBody>
      </p:sp>
      <p:sp>
        <p:nvSpPr>
          <p:cNvPr id="3" name="Footer Placeholder 2">
            <a:extLst>
              <a:ext uri="{FF2B5EF4-FFF2-40B4-BE49-F238E27FC236}">
                <a16:creationId xmlns:a16="http://schemas.microsoft.com/office/drawing/2014/main" id="{4789BA40-1E9F-27AD-AA2E-C618FEB41DDD}"/>
              </a:ext>
            </a:extLst>
          </p:cNvPr>
          <p:cNvSpPr>
            <a:spLocks noGrp="1"/>
          </p:cNvSpPr>
          <p:nvPr>
            <p:ph type="ftr" sz="quarter" idx="19"/>
          </p:nvPr>
        </p:nvSpPr>
        <p:spPr/>
        <p:txBody>
          <a:bodyPr/>
          <a:lstStyle>
            <a:lvl1pPr>
              <a:defRPr>
                <a:solidFill>
                  <a:schemeClr val="bg1"/>
                </a:solidFill>
              </a:defRPr>
            </a:lvl1pPr>
          </a:lstStyle>
          <a:p>
            <a:r>
              <a:rPr lang="en-GB"/>
              <a:t>Slide footer </a:t>
            </a:r>
          </a:p>
        </p:txBody>
      </p:sp>
      <p:sp>
        <p:nvSpPr>
          <p:cNvPr id="6" name="Slide Number Placeholder 5">
            <a:extLst>
              <a:ext uri="{FF2B5EF4-FFF2-40B4-BE49-F238E27FC236}">
                <a16:creationId xmlns:a16="http://schemas.microsoft.com/office/drawing/2014/main" id="{BE692F0C-03A1-916A-E1B3-C13DC2D73FBE}"/>
              </a:ext>
            </a:extLst>
          </p:cNvPr>
          <p:cNvSpPr>
            <a:spLocks noGrp="1"/>
          </p:cNvSpPr>
          <p:nvPr>
            <p:ph type="sldNum" sz="quarter" idx="20"/>
          </p:nvPr>
        </p:nvSpPr>
        <p:spPr/>
        <p:txBody>
          <a:bodyPr/>
          <a:lstStyle>
            <a:lvl1pPr>
              <a:defRPr>
                <a:solidFill>
                  <a:schemeClr val="bg1"/>
                </a:solidFill>
              </a:defRPr>
            </a:lvl1pPr>
          </a:lstStyle>
          <a:p>
            <a:fld id="{24FD2396-7F2C-D741-B592-F93892A44B62}" type="slidenum">
              <a:rPr lang="en-GB" smtClean="0"/>
              <a:pPr/>
              <a:t>‹#›</a:t>
            </a:fld>
            <a:endParaRPr lang="en-GB"/>
          </a:p>
        </p:txBody>
      </p:sp>
      <p:sp>
        <p:nvSpPr>
          <p:cNvPr id="22" name="Text Placeholder 8">
            <a:extLst>
              <a:ext uri="{FF2B5EF4-FFF2-40B4-BE49-F238E27FC236}">
                <a16:creationId xmlns:a16="http://schemas.microsoft.com/office/drawing/2014/main" id="{31C05F73-5FC1-D892-8ED0-613E18B8690C}"/>
              </a:ext>
            </a:extLst>
          </p:cNvPr>
          <p:cNvSpPr>
            <a:spLocks noGrp="1"/>
          </p:cNvSpPr>
          <p:nvPr>
            <p:ph type="body" sz="quarter" idx="14" hasCustomPrompt="1"/>
          </p:nvPr>
        </p:nvSpPr>
        <p:spPr>
          <a:xfrm>
            <a:off x="766763" y="6473323"/>
            <a:ext cx="6853237" cy="207393"/>
          </a:xfrm>
        </p:spPr>
        <p:txBody>
          <a:bodyPr vert="horz" lIns="0" tIns="0" rIns="0" bIns="0" rtlCol="0" anchor="t">
            <a:noAutofit/>
          </a:bodyPr>
          <a:lstStyle>
            <a:lvl1pPr marL="0" indent="0">
              <a:buNone/>
              <a:defRPr lang="en-GB" sz="800" i="0" dirty="0">
                <a:solidFill>
                  <a:schemeClr val="bg2"/>
                </a:solidFill>
                <a:effectLst/>
              </a:defRPr>
            </a:lvl1pPr>
          </a:lstStyle>
          <a:p>
            <a:pPr lvl="0">
              <a:spcBef>
                <a:spcPts val="0"/>
              </a:spcBef>
              <a:spcAft>
                <a:spcPts val="0"/>
              </a:spcAft>
            </a:pPr>
            <a:r>
              <a:rPr lang="en-GB"/>
              <a:t>Notes: [Note information]      Source: [1. Source information 2. Source information]</a:t>
            </a:r>
          </a:p>
        </p:txBody>
      </p:sp>
    </p:spTree>
    <p:extLst>
      <p:ext uri="{BB962C8B-B14F-4D97-AF65-F5344CB8AC3E}">
        <p14:creationId xmlns:p14="http://schemas.microsoft.com/office/powerpoint/2010/main" val="61368765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and 3 Image ">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FE6F664A-C345-03FE-B68A-E582D5D33C7F}"/>
              </a:ext>
            </a:extLst>
          </p:cNvPr>
          <p:cNvSpPr/>
          <p:nvPr userDrawn="1"/>
        </p:nvSpPr>
        <p:spPr>
          <a:xfrm flipH="1">
            <a:off x="5341459" y="1"/>
            <a:ext cx="685053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Content Placeholder 2">
            <a:extLst>
              <a:ext uri="{FF2B5EF4-FFF2-40B4-BE49-F238E27FC236}">
                <a16:creationId xmlns:a16="http://schemas.microsoft.com/office/drawing/2014/main" id="{A455BF96-EDC6-BF1D-9B02-8D224416D8B2}"/>
              </a:ext>
            </a:extLst>
          </p:cNvPr>
          <p:cNvSpPr>
            <a:spLocks noGrp="1"/>
          </p:cNvSpPr>
          <p:nvPr>
            <p:ph idx="1"/>
          </p:nvPr>
        </p:nvSpPr>
        <p:spPr>
          <a:xfrm>
            <a:off x="381001" y="1520825"/>
            <a:ext cx="4572001" cy="45751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2" name="Title 1">
            <a:extLst>
              <a:ext uri="{FF2B5EF4-FFF2-40B4-BE49-F238E27FC236}">
                <a16:creationId xmlns:a16="http://schemas.microsoft.com/office/drawing/2014/main" id="{28B7ABED-858C-78E9-F77A-0E04D5A3A79F}"/>
              </a:ext>
            </a:extLst>
          </p:cNvPr>
          <p:cNvSpPr>
            <a:spLocks noGrp="1"/>
          </p:cNvSpPr>
          <p:nvPr>
            <p:ph type="title" hasCustomPrompt="1"/>
          </p:nvPr>
        </p:nvSpPr>
        <p:spPr>
          <a:xfrm>
            <a:off x="381001" y="346076"/>
            <a:ext cx="4571999" cy="443198"/>
          </a:xfrm>
        </p:spPr>
        <p:txBody>
          <a:bodyPr>
            <a:spAutoFit/>
          </a:bodyPr>
          <a:lstStyle/>
          <a:p>
            <a:r>
              <a:rPr lang="en-GB"/>
              <a:t>Master title style</a:t>
            </a:r>
            <a:endParaRPr lang="en-US"/>
          </a:p>
        </p:txBody>
      </p:sp>
      <p:sp>
        <p:nvSpPr>
          <p:cNvPr id="21" name="Picture Placeholder 7">
            <a:extLst>
              <a:ext uri="{FF2B5EF4-FFF2-40B4-BE49-F238E27FC236}">
                <a16:creationId xmlns:a16="http://schemas.microsoft.com/office/drawing/2014/main" id="{59E99939-593F-6896-AC74-C82F708E16CE}"/>
              </a:ext>
            </a:extLst>
          </p:cNvPr>
          <p:cNvSpPr>
            <a:spLocks noGrp="1"/>
          </p:cNvSpPr>
          <p:nvPr>
            <p:ph type="pic" sz="quarter" idx="17"/>
          </p:nvPr>
        </p:nvSpPr>
        <p:spPr>
          <a:xfrm>
            <a:off x="9906000" y="-1"/>
            <a:ext cx="1528282" cy="6858001"/>
          </a:xfrm>
          <a:solidFill>
            <a:schemeClr val="accent2"/>
          </a:solidFill>
        </p:spPr>
        <p:txBody>
          <a:bodyPr/>
          <a:lstStyle>
            <a:lvl1pPr>
              <a:defRPr>
                <a:solidFill>
                  <a:schemeClr val="bg1"/>
                </a:solidFill>
              </a:defRPr>
            </a:lvl1pPr>
          </a:lstStyle>
          <a:p>
            <a:endParaRPr lang="en-GB"/>
          </a:p>
        </p:txBody>
      </p:sp>
      <p:sp>
        <p:nvSpPr>
          <p:cNvPr id="22" name="Picture Placeholder 7">
            <a:extLst>
              <a:ext uri="{FF2B5EF4-FFF2-40B4-BE49-F238E27FC236}">
                <a16:creationId xmlns:a16="http://schemas.microsoft.com/office/drawing/2014/main" id="{55B8CB90-A003-174D-472F-EB34FEFB0514}"/>
              </a:ext>
            </a:extLst>
          </p:cNvPr>
          <p:cNvSpPr>
            <a:spLocks noGrp="1"/>
          </p:cNvSpPr>
          <p:nvPr>
            <p:ph type="pic" sz="quarter" idx="18"/>
          </p:nvPr>
        </p:nvSpPr>
        <p:spPr>
          <a:xfrm>
            <a:off x="7616825" y="-1"/>
            <a:ext cx="2289176" cy="6858001"/>
          </a:xfrm>
          <a:solidFill>
            <a:schemeClr val="accent1"/>
          </a:solidFill>
        </p:spPr>
        <p:txBody>
          <a:bodyPr/>
          <a:lstStyle>
            <a:lvl1pPr>
              <a:defRPr>
                <a:solidFill>
                  <a:schemeClr val="bg1"/>
                </a:solidFill>
              </a:defRPr>
            </a:lvl1pPr>
          </a:lstStyle>
          <a:p>
            <a:endParaRPr lang="en-GB"/>
          </a:p>
        </p:txBody>
      </p:sp>
      <p:sp>
        <p:nvSpPr>
          <p:cNvPr id="23" name="Picture Placeholder 7">
            <a:extLst>
              <a:ext uri="{FF2B5EF4-FFF2-40B4-BE49-F238E27FC236}">
                <a16:creationId xmlns:a16="http://schemas.microsoft.com/office/drawing/2014/main" id="{1E787AE8-9865-2FA6-9811-93A79B10F186}"/>
              </a:ext>
            </a:extLst>
          </p:cNvPr>
          <p:cNvSpPr>
            <a:spLocks noGrp="1"/>
          </p:cNvSpPr>
          <p:nvPr>
            <p:ph type="pic" sz="quarter" idx="19"/>
          </p:nvPr>
        </p:nvSpPr>
        <p:spPr>
          <a:xfrm>
            <a:off x="4953000" y="-1"/>
            <a:ext cx="2665789" cy="6858002"/>
          </a:xfrm>
          <a:solidFill>
            <a:schemeClr val="tx2"/>
          </a:solidFill>
        </p:spPr>
        <p:txBody>
          <a:bodyPr/>
          <a:lstStyle>
            <a:lvl1pPr>
              <a:defRPr>
                <a:solidFill>
                  <a:schemeClr val="bg1"/>
                </a:solidFill>
              </a:defRPr>
            </a:lvl1pPr>
          </a:lstStyle>
          <a:p>
            <a:endParaRPr lang="en-GB"/>
          </a:p>
        </p:txBody>
      </p:sp>
      <p:sp>
        <p:nvSpPr>
          <p:cNvPr id="20" name="Text Placeholder 8">
            <a:extLst>
              <a:ext uri="{FF2B5EF4-FFF2-40B4-BE49-F238E27FC236}">
                <a16:creationId xmlns:a16="http://schemas.microsoft.com/office/drawing/2014/main" id="{BBFD3E3E-8BA2-5DC8-6DE0-D55EF0D811A7}"/>
              </a:ext>
            </a:extLst>
          </p:cNvPr>
          <p:cNvSpPr>
            <a:spLocks noGrp="1"/>
          </p:cNvSpPr>
          <p:nvPr>
            <p:ph type="body" sz="quarter" idx="14" hasCustomPrompt="1"/>
          </p:nvPr>
        </p:nvSpPr>
        <p:spPr>
          <a:xfrm>
            <a:off x="766763" y="6473323"/>
            <a:ext cx="6853237" cy="207393"/>
          </a:xfrm>
        </p:spPr>
        <p:txBody>
          <a:bodyPr vert="horz" lIns="0" tIns="0" rIns="0" bIns="0" rtlCol="0" anchor="t">
            <a:noAutofit/>
          </a:bodyPr>
          <a:lstStyle>
            <a:lvl1pPr marL="0" indent="0">
              <a:buNone/>
              <a:defRPr lang="en-GB" sz="800" i="0" dirty="0">
                <a:solidFill>
                  <a:schemeClr val="bg2"/>
                </a:solidFill>
                <a:effectLst/>
              </a:defRPr>
            </a:lvl1pPr>
          </a:lstStyle>
          <a:p>
            <a:pPr lvl="0">
              <a:spcBef>
                <a:spcPts val="0"/>
              </a:spcBef>
              <a:spcAft>
                <a:spcPts val="0"/>
              </a:spcAft>
            </a:pPr>
            <a:r>
              <a:rPr lang="en-GB"/>
              <a:t>Notes: [Note information]      Source: [1. Source information 2. Source information]</a:t>
            </a:r>
          </a:p>
        </p:txBody>
      </p:sp>
      <p:sp>
        <p:nvSpPr>
          <p:cNvPr id="3" name="Footer Placeholder 2">
            <a:extLst>
              <a:ext uri="{FF2B5EF4-FFF2-40B4-BE49-F238E27FC236}">
                <a16:creationId xmlns:a16="http://schemas.microsoft.com/office/drawing/2014/main" id="{257281CC-6DA5-AE3E-0492-8FB049493046}"/>
              </a:ext>
            </a:extLst>
          </p:cNvPr>
          <p:cNvSpPr>
            <a:spLocks noGrp="1"/>
          </p:cNvSpPr>
          <p:nvPr>
            <p:ph type="ftr" sz="quarter" idx="20"/>
          </p:nvPr>
        </p:nvSpPr>
        <p:spPr/>
        <p:txBody>
          <a:bodyPr/>
          <a:lstStyle>
            <a:lvl1pPr>
              <a:defRPr>
                <a:solidFill>
                  <a:schemeClr val="bg1"/>
                </a:solidFill>
              </a:defRPr>
            </a:lvl1pPr>
          </a:lstStyle>
          <a:p>
            <a:r>
              <a:rPr lang="en-GB"/>
              <a:t>Slide footer </a:t>
            </a:r>
          </a:p>
        </p:txBody>
      </p:sp>
      <p:sp>
        <p:nvSpPr>
          <p:cNvPr id="6" name="Slide Number Placeholder 5">
            <a:extLst>
              <a:ext uri="{FF2B5EF4-FFF2-40B4-BE49-F238E27FC236}">
                <a16:creationId xmlns:a16="http://schemas.microsoft.com/office/drawing/2014/main" id="{7F61885C-1152-58CE-8EA5-5BCB7594AFDD}"/>
              </a:ext>
            </a:extLst>
          </p:cNvPr>
          <p:cNvSpPr>
            <a:spLocks noGrp="1"/>
          </p:cNvSpPr>
          <p:nvPr>
            <p:ph type="sldNum" sz="quarter" idx="21"/>
          </p:nvPr>
        </p:nvSpPr>
        <p:spPr/>
        <p:txBody>
          <a:bodyPr/>
          <a:lstStyle>
            <a:lvl1pPr>
              <a:defRPr>
                <a:solidFill>
                  <a:schemeClr val="bg1"/>
                </a:solidFill>
              </a:defRPr>
            </a:lvl1pPr>
          </a:lstStyle>
          <a:p>
            <a:fld id="{24FD2396-7F2C-D741-B592-F93892A44B62}" type="slidenum">
              <a:rPr lang="en-GB" smtClean="0"/>
              <a:pPr/>
              <a:t>‹#›</a:t>
            </a:fld>
            <a:endParaRPr lang="en-GB"/>
          </a:p>
        </p:txBody>
      </p:sp>
    </p:spTree>
    <p:extLst>
      <p:ext uri="{BB962C8B-B14F-4D97-AF65-F5344CB8AC3E}">
        <p14:creationId xmlns:p14="http://schemas.microsoft.com/office/powerpoint/2010/main" val="106265576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Multi Conten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A455BF96-EDC6-BF1D-9B02-8D224416D8B2}"/>
              </a:ext>
            </a:extLst>
          </p:cNvPr>
          <p:cNvSpPr>
            <a:spLocks noGrp="1"/>
          </p:cNvSpPr>
          <p:nvPr>
            <p:ph idx="1"/>
          </p:nvPr>
        </p:nvSpPr>
        <p:spPr>
          <a:xfrm>
            <a:off x="381000" y="1520825"/>
            <a:ext cx="3805237" cy="45751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2" name="Title 1">
            <a:extLst>
              <a:ext uri="{FF2B5EF4-FFF2-40B4-BE49-F238E27FC236}">
                <a16:creationId xmlns:a16="http://schemas.microsoft.com/office/drawing/2014/main" id="{28B7ABED-858C-78E9-F77A-0E04D5A3A79F}"/>
              </a:ext>
            </a:extLst>
          </p:cNvPr>
          <p:cNvSpPr>
            <a:spLocks noGrp="1"/>
          </p:cNvSpPr>
          <p:nvPr>
            <p:ph type="title"/>
          </p:nvPr>
        </p:nvSpPr>
        <p:spPr>
          <a:xfrm>
            <a:off x="381001" y="346076"/>
            <a:ext cx="3805235" cy="762000"/>
          </a:xfrm>
        </p:spPr>
        <p:txBody>
          <a:bodyPr/>
          <a:lstStyle/>
          <a:p>
            <a:r>
              <a:rPr lang="en-GB"/>
              <a:t>Click to edit Master title style</a:t>
            </a:r>
            <a:endParaRPr lang="en-US"/>
          </a:p>
        </p:txBody>
      </p:sp>
      <p:sp>
        <p:nvSpPr>
          <p:cNvPr id="18" name="Rectangle 17">
            <a:extLst>
              <a:ext uri="{FF2B5EF4-FFF2-40B4-BE49-F238E27FC236}">
                <a16:creationId xmlns:a16="http://schemas.microsoft.com/office/drawing/2014/main" id="{1E29A78F-1550-B668-61B1-8F7CFC9BF631}"/>
              </a:ext>
            </a:extLst>
          </p:cNvPr>
          <p:cNvSpPr/>
          <p:nvPr userDrawn="1"/>
        </p:nvSpPr>
        <p:spPr>
          <a:xfrm>
            <a:off x="0" y="383004"/>
            <a:ext cx="93453" cy="76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Picture Placeholder 7">
            <a:extLst>
              <a:ext uri="{FF2B5EF4-FFF2-40B4-BE49-F238E27FC236}">
                <a16:creationId xmlns:a16="http://schemas.microsoft.com/office/drawing/2014/main" id="{C025987A-E382-375D-8605-DCE3B6FF444D}"/>
              </a:ext>
            </a:extLst>
          </p:cNvPr>
          <p:cNvSpPr>
            <a:spLocks noGrp="1"/>
          </p:cNvSpPr>
          <p:nvPr>
            <p:ph type="pic" sz="quarter" idx="17"/>
          </p:nvPr>
        </p:nvSpPr>
        <p:spPr>
          <a:xfrm>
            <a:off x="7616825" y="1"/>
            <a:ext cx="4575175" cy="4560852"/>
          </a:xfrm>
          <a:solidFill>
            <a:schemeClr val="tx1"/>
          </a:solidFill>
        </p:spPr>
        <p:txBody>
          <a:bodyPr/>
          <a:lstStyle>
            <a:lvl1pPr>
              <a:defRPr>
                <a:solidFill>
                  <a:schemeClr val="bg1"/>
                </a:solidFill>
              </a:defRPr>
            </a:lvl1pPr>
          </a:lstStyle>
          <a:p>
            <a:endParaRPr lang="en-GB"/>
          </a:p>
        </p:txBody>
      </p:sp>
      <p:sp>
        <p:nvSpPr>
          <p:cNvPr id="21" name="Picture Placeholder 7">
            <a:extLst>
              <a:ext uri="{FF2B5EF4-FFF2-40B4-BE49-F238E27FC236}">
                <a16:creationId xmlns:a16="http://schemas.microsoft.com/office/drawing/2014/main" id="{D7A97E5E-D21C-3156-021E-3774BCF6B5E5}"/>
              </a:ext>
            </a:extLst>
          </p:cNvPr>
          <p:cNvSpPr>
            <a:spLocks noGrp="1"/>
          </p:cNvSpPr>
          <p:nvPr>
            <p:ph type="pic" sz="quarter" idx="18"/>
          </p:nvPr>
        </p:nvSpPr>
        <p:spPr>
          <a:xfrm>
            <a:off x="4186238" y="2667000"/>
            <a:ext cx="3430587" cy="4196938"/>
          </a:xfrm>
          <a:solidFill>
            <a:schemeClr val="tx2"/>
          </a:solidFill>
        </p:spPr>
        <p:txBody>
          <a:bodyPr/>
          <a:lstStyle>
            <a:lvl1pPr>
              <a:defRPr>
                <a:solidFill>
                  <a:schemeClr val="bg1"/>
                </a:solidFill>
              </a:defRPr>
            </a:lvl1pPr>
          </a:lstStyle>
          <a:p>
            <a:endParaRPr lang="en-GB"/>
          </a:p>
        </p:txBody>
      </p:sp>
      <p:sp>
        <p:nvSpPr>
          <p:cNvPr id="22" name="Rectangle 21">
            <a:extLst>
              <a:ext uri="{FF2B5EF4-FFF2-40B4-BE49-F238E27FC236}">
                <a16:creationId xmlns:a16="http://schemas.microsoft.com/office/drawing/2014/main" id="{53EE2184-C585-D8CE-0FF6-F4E8BB255554}"/>
              </a:ext>
            </a:extLst>
          </p:cNvPr>
          <p:cNvSpPr/>
          <p:nvPr userDrawn="1"/>
        </p:nvSpPr>
        <p:spPr>
          <a:xfrm>
            <a:off x="9524999" y="4575174"/>
            <a:ext cx="2667001" cy="22828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Picture Placeholder 7">
            <a:extLst>
              <a:ext uri="{FF2B5EF4-FFF2-40B4-BE49-F238E27FC236}">
                <a16:creationId xmlns:a16="http://schemas.microsoft.com/office/drawing/2014/main" id="{58BC85F8-16D7-C456-9DC2-5B745A724487}"/>
              </a:ext>
            </a:extLst>
          </p:cNvPr>
          <p:cNvSpPr>
            <a:spLocks noGrp="1"/>
          </p:cNvSpPr>
          <p:nvPr>
            <p:ph type="pic" sz="quarter" idx="19"/>
          </p:nvPr>
        </p:nvSpPr>
        <p:spPr>
          <a:xfrm>
            <a:off x="7642512" y="4575174"/>
            <a:ext cx="1882487" cy="2288763"/>
          </a:xfrm>
          <a:solidFill>
            <a:schemeClr val="accent2"/>
          </a:solidFill>
        </p:spPr>
        <p:txBody>
          <a:bodyPr/>
          <a:lstStyle>
            <a:lvl1pPr>
              <a:defRPr>
                <a:solidFill>
                  <a:schemeClr val="bg1"/>
                </a:solidFill>
              </a:defRPr>
            </a:lvl1pPr>
          </a:lstStyle>
          <a:p>
            <a:endParaRPr lang="en-GB"/>
          </a:p>
        </p:txBody>
      </p:sp>
      <p:sp>
        <p:nvSpPr>
          <p:cNvPr id="19" name="Rectangle 18">
            <a:extLst>
              <a:ext uri="{FF2B5EF4-FFF2-40B4-BE49-F238E27FC236}">
                <a16:creationId xmlns:a16="http://schemas.microsoft.com/office/drawing/2014/main" id="{D7304C3B-6E78-3059-868F-11BB14676484}"/>
              </a:ext>
            </a:extLst>
          </p:cNvPr>
          <p:cNvSpPr/>
          <p:nvPr userDrawn="1"/>
        </p:nvSpPr>
        <p:spPr>
          <a:xfrm flipH="1">
            <a:off x="4186238" y="1"/>
            <a:ext cx="3430587" cy="2666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81928F96-6215-6DD0-EFF2-0BD88FC4783E}"/>
              </a:ext>
            </a:extLst>
          </p:cNvPr>
          <p:cNvSpPr>
            <a:spLocks noGrp="1"/>
          </p:cNvSpPr>
          <p:nvPr>
            <p:ph type="ftr" sz="quarter" idx="20"/>
          </p:nvPr>
        </p:nvSpPr>
        <p:spPr/>
        <p:txBody>
          <a:bodyPr/>
          <a:lstStyle>
            <a:lvl1pPr>
              <a:defRPr>
                <a:solidFill>
                  <a:schemeClr val="bg1"/>
                </a:solidFill>
              </a:defRPr>
            </a:lvl1pPr>
          </a:lstStyle>
          <a:p>
            <a:r>
              <a:rPr lang="en-GB"/>
              <a:t>Slide footer </a:t>
            </a:r>
          </a:p>
        </p:txBody>
      </p:sp>
      <p:sp>
        <p:nvSpPr>
          <p:cNvPr id="6" name="Slide Number Placeholder 5">
            <a:extLst>
              <a:ext uri="{FF2B5EF4-FFF2-40B4-BE49-F238E27FC236}">
                <a16:creationId xmlns:a16="http://schemas.microsoft.com/office/drawing/2014/main" id="{939D6CDF-4E07-BA7D-7D58-C3A6661B5C84}"/>
              </a:ext>
            </a:extLst>
          </p:cNvPr>
          <p:cNvSpPr>
            <a:spLocks noGrp="1"/>
          </p:cNvSpPr>
          <p:nvPr>
            <p:ph type="sldNum" sz="quarter" idx="21"/>
          </p:nvPr>
        </p:nvSpPr>
        <p:spPr/>
        <p:txBody>
          <a:bodyPr/>
          <a:lstStyle>
            <a:lvl1pPr>
              <a:defRPr>
                <a:solidFill>
                  <a:schemeClr val="bg1"/>
                </a:solidFill>
              </a:defRPr>
            </a:lvl1pPr>
          </a:lstStyle>
          <a:p>
            <a:fld id="{24FD2396-7F2C-D741-B592-F93892A44B62}" type="slidenum">
              <a:rPr lang="en-GB" smtClean="0"/>
              <a:pPr/>
              <a:t>‹#›</a:t>
            </a:fld>
            <a:endParaRPr lang="en-GB"/>
          </a:p>
        </p:txBody>
      </p:sp>
    </p:spTree>
    <p:extLst>
      <p:ext uri="{BB962C8B-B14F-4D97-AF65-F5344CB8AC3E}">
        <p14:creationId xmlns:p14="http://schemas.microsoft.com/office/powerpoint/2010/main" val="421924022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5953D-0B71-E3B4-906E-497A5DB1AF90}"/>
              </a:ext>
            </a:extLst>
          </p:cNvPr>
          <p:cNvSpPr>
            <a:spLocks noGrp="1"/>
          </p:cNvSpPr>
          <p:nvPr>
            <p:ph type="title" hasCustomPrompt="1"/>
          </p:nvPr>
        </p:nvSpPr>
        <p:spPr>
          <a:xfrm>
            <a:off x="381001" y="346076"/>
            <a:ext cx="3427414" cy="443198"/>
          </a:xfrm>
        </p:spPr>
        <p:txBody>
          <a:bodyPr>
            <a:spAutoFit/>
          </a:bodyPr>
          <a:lstStyle>
            <a:lvl1pPr>
              <a:defRPr>
                <a:solidFill>
                  <a:schemeClr val="bg1"/>
                </a:solidFill>
              </a:defRPr>
            </a:lvl1pPr>
          </a:lstStyle>
          <a:p>
            <a:r>
              <a:rPr lang="en-GB"/>
              <a:t>Quote</a:t>
            </a:r>
          </a:p>
        </p:txBody>
      </p:sp>
      <p:sp>
        <p:nvSpPr>
          <p:cNvPr id="10" name="Text Placeholder 3">
            <a:extLst>
              <a:ext uri="{FF2B5EF4-FFF2-40B4-BE49-F238E27FC236}">
                <a16:creationId xmlns:a16="http://schemas.microsoft.com/office/drawing/2014/main" id="{2456B7BF-1730-C566-F515-CDB09A876E5F}"/>
              </a:ext>
            </a:extLst>
          </p:cNvPr>
          <p:cNvSpPr>
            <a:spLocks noGrp="1"/>
          </p:cNvSpPr>
          <p:nvPr>
            <p:ph type="body" sz="quarter" idx="20" hasCustomPrompt="1"/>
          </p:nvPr>
        </p:nvSpPr>
        <p:spPr>
          <a:xfrm>
            <a:off x="4572001" y="381001"/>
            <a:ext cx="7242174" cy="5329238"/>
          </a:xfrm>
        </p:spPr>
        <p:txBody>
          <a:bodyPr/>
          <a:lstStyle>
            <a:lvl1pPr marL="0" indent="0">
              <a:lnSpc>
                <a:spcPct val="80000"/>
              </a:lnSpc>
              <a:buNone/>
              <a:tabLst/>
              <a:defRPr sz="6000">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Quote.”</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 Placeholder 8">
            <a:extLst>
              <a:ext uri="{FF2B5EF4-FFF2-40B4-BE49-F238E27FC236}">
                <a16:creationId xmlns:a16="http://schemas.microsoft.com/office/drawing/2014/main" id="{720F6FEE-B672-28EA-2CB2-752FA410B299}"/>
              </a:ext>
            </a:extLst>
          </p:cNvPr>
          <p:cNvSpPr>
            <a:spLocks noGrp="1"/>
          </p:cNvSpPr>
          <p:nvPr>
            <p:ph type="body" sz="quarter" idx="14" hasCustomPrompt="1"/>
          </p:nvPr>
        </p:nvSpPr>
        <p:spPr>
          <a:xfrm>
            <a:off x="766763" y="6473323"/>
            <a:ext cx="6853237" cy="207393"/>
          </a:xfrm>
        </p:spPr>
        <p:txBody>
          <a:bodyPr anchor="t">
            <a:noAutofit/>
          </a:bodyPr>
          <a:lstStyle>
            <a:lvl1pPr marL="0" indent="0">
              <a:spcBef>
                <a:spcPts val="0"/>
              </a:spcBef>
              <a:spcAft>
                <a:spcPts val="0"/>
              </a:spcAft>
              <a:buNone/>
              <a:defRPr lang="en-GB" sz="800" i="0" smtClean="0">
                <a:solidFill>
                  <a:schemeClr val="bg1"/>
                </a:solidFill>
                <a:effectLst/>
              </a:defRPr>
            </a:lvl1pPr>
            <a:lvl2pPr>
              <a:defRPr sz="1200" b="1">
                <a:solidFill>
                  <a:schemeClr val="bg1">
                    <a:lumMod val="50000"/>
                  </a:schemeClr>
                </a:solidFill>
              </a:defRPr>
            </a:lvl2pPr>
            <a:lvl3pPr>
              <a:defRPr sz="1200" b="1">
                <a:solidFill>
                  <a:schemeClr val="bg1">
                    <a:lumMod val="50000"/>
                  </a:schemeClr>
                </a:solidFill>
              </a:defRPr>
            </a:lvl3pPr>
            <a:lvl4pPr>
              <a:defRPr sz="1200" b="1">
                <a:solidFill>
                  <a:schemeClr val="bg1">
                    <a:lumMod val="50000"/>
                  </a:schemeClr>
                </a:solidFill>
              </a:defRPr>
            </a:lvl4pPr>
            <a:lvl5pPr>
              <a:defRPr sz="1200" b="1">
                <a:solidFill>
                  <a:schemeClr val="bg1">
                    <a:lumMod val="50000"/>
                  </a:schemeClr>
                </a:solidFill>
              </a:defRPr>
            </a:lvl5pPr>
          </a:lstStyle>
          <a:p>
            <a:pPr lvl="0"/>
            <a:r>
              <a:rPr lang="en-GB"/>
              <a:t>Notes: [Note information]      Source: [1. Source information 2. Source information]</a:t>
            </a:r>
          </a:p>
        </p:txBody>
      </p:sp>
      <p:sp>
        <p:nvSpPr>
          <p:cNvPr id="4" name="Footer Placeholder 3">
            <a:extLst>
              <a:ext uri="{FF2B5EF4-FFF2-40B4-BE49-F238E27FC236}">
                <a16:creationId xmlns:a16="http://schemas.microsoft.com/office/drawing/2014/main" id="{75B9BA0A-BA56-5F5F-33D8-A92498F82E92}"/>
              </a:ext>
            </a:extLst>
          </p:cNvPr>
          <p:cNvSpPr>
            <a:spLocks noGrp="1"/>
          </p:cNvSpPr>
          <p:nvPr>
            <p:ph type="ftr" sz="quarter" idx="21"/>
          </p:nvPr>
        </p:nvSpPr>
        <p:spPr/>
        <p:txBody>
          <a:bodyPr/>
          <a:lstStyle>
            <a:lvl1pPr>
              <a:defRPr>
                <a:solidFill>
                  <a:schemeClr val="bg1"/>
                </a:solidFill>
              </a:defRPr>
            </a:lvl1pPr>
          </a:lstStyle>
          <a:p>
            <a:r>
              <a:rPr lang="en-GB"/>
              <a:t>Slide footer </a:t>
            </a:r>
          </a:p>
        </p:txBody>
      </p:sp>
      <p:sp>
        <p:nvSpPr>
          <p:cNvPr id="6" name="Slide Number Placeholder 5">
            <a:extLst>
              <a:ext uri="{FF2B5EF4-FFF2-40B4-BE49-F238E27FC236}">
                <a16:creationId xmlns:a16="http://schemas.microsoft.com/office/drawing/2014/main" id="{0A07C934-85A4-EDD2-B9A0-A7B54681A22C}"/>
              </a:ext>
            </a:extLst>
          </p:cNvPr>
          <p:cNvSpPr>
            <a:spLocks noGrp="1"/>
          </p:cNvSpPr>
          <p:nvPr>
            <p:ph type="sldNum" sz="quarter" idx="22"/>
          </p:nvPr>
        </p:nvSpPr>
        <p:spPr/>
        <p:txBody>
          <a:bodyPr/>
          <a:lstStyle>
            <a:lvl1pPr>
              <a:defRPr>
                <a:solidFill>
                  <a:schemeClr val="bg1"/>
                </a:solidFill>
              </a:defRPr>
            </a:lvl1pPr>
          </a:lstStyle>
          <a:p>
            <a:fld id="{24FD2396-7F2C-D741-B592-F93892A44B62}" type="slidenum">
              <a:rPr lang="en-GB" smtClean="0"/>
              <a:pPr/>
              <a:t>‹#›</a:t>
            </a:fld>
            <a:endParaRPr lang="en-GB"/>
          </a:p>
        </p:txBody>
      </p:sp>
      <p:grpSp>
        <p:nvGrpSpPr>
          <p:cNvPr id="7" name="Group 6">
            <a:extLst>
              <a:ext uri="{FF2B5EF4-FFF2-40B4-BE49-F238E27FC236}">
                <a16:creationId xmlns:a16="http://schemas.microsoft.com/office/drawing/2014/main" id="{1D815F1E-E26A-977A-B1CB-AA5DE4FACAAB}"/>
              </a:ext>
            </a:extLst>
          </p:cNvPr>
          <p:cNvGrpSpPr>
            <a:grpSpLocks noChangeAspect="1"/>
          </p:cNvGrpSpPr>
          <p:nvPr userDrawn="1"/>
        </p:nvGrpSpPr>
        <p:grpSpPr>
          <a:xfrm>
            <a:off x="0" y="6537992"/>
            <a:ext cx="318336" cy="320008"/>
            <a:chOff x="104189" y="6358099"/>
            <a:chExt cx="403766" cy="405887"/>
          </a:xfrm>
        </p:grpSpPr>
        <p:sp>
          <p:nvSpPr>
            <p:cNvPr id="8" name="Rectangle 7">
              <a:extLst>
                <a:ext uri="{FF2B5EF4-FFF2-40B4-BE49-F238E27FC236}">
                  <a16:creationId xmlns:a16="http://schemas.microsoft.com/office/drawing/2014/main" id="{B2A12646-B350-D392-C4F3-B516BB2C76CC}"/>
                </a:ext>
              </a:extLst>
            </p:cNvPr>
            <p:cNvSpPr/>
            <p:nvPr/>
          </p:nvSpPr>
          <p:spPr>
            <a:xfrm>
              <a:off x="106016" y="6358099"/>
              <a:ext cx="401939" cy="404986"/>
            </a:xfrm>
            <a:prstGeom prst="rect">
              <a:avLst/>
            </a:prstGeom>
            <a:solidFill>
              <a:srgbClr val="1514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9" name="Freeform 8">
              <a:extLst>
                <a:ext uri="{FF2B5EF4-FFF2-40B4-BE49-F238E27FC236}">
                  <a16:creationId xmlns:a16="http://schemas.microsoft.com/office/drawing/2014/main" id="{A4B439B6-D5DC-F990-7011-EC58C7045C7A}"/>
                </a:ext>
              </a:extLst>
            </p:cNvPr>
            <p:cNvSpPr/>
            <p:nvPr/>
          </p:nvSpPr>
          <p:spPr>
            <a:xfrm>
              <a:off x="104267" y="6599354"/>
              <a:ext cx="17196" cy="32408"/>
            </a:xfrm>
            <a:custGeom>
              <a:avLst/>
              <a:gdLst>
                <a:gd name="connsiteX0" fmla="*/ -51 w 17196"/>
                <a:gd name="connsiteY0" fmla="*/ -30 h 32408"/>
                <a:gd name="connsiteX1" fmla="*/ -51 w 17196"/>
                <a:gd name="connsiteY1" fmla="*/ 32378 h 32408"/>
                <a:gd name="connsiteX2" fmla="*/ 17145 w 17196"/>
                <a:gd name="connsiteY2" fmla="*/ 19965 h 32408"/>
              </a:gdLst>
              <a:ahLst/>
              <a:cxnLst>
                <a:cxn ang="0">
                  <a:pos x="connsiteX0" y="connsiteY0"/>
                </a:cxn>
                <a:cxn ang="0">
                  <a:pos x="connsiteX1" y="connsiteY1"/>
                </a:cxn>
                <a:cxn ang="0">
                  <a:pos x="connsiteX2" y="connsiteY2"/>
                </a:cxn>
              </a:cxnLst>
              <a:rect l="l" t="t" r="r" b="b"/>
              <a:pathLst>
                <a:path w="17196" h="32408">
                  <a:moveTo>
                    <a:pt x="-51" y="-30"/>
                  </a:moveTo>
                  <a:lnTo>
                    <a:pt x="-51" y="32378"/>
                  </a:lnTo>
                  <a:cubicBezTo>
                    <a:pt x="5894" y="28542"/>
                    <a:pt x="11634" y="24398"/>
                    <a:pt x="17145" y="19965"/>
                  </a:cubicBezTo>
                  <a:close/>
                </a:path>
              </a:pathLst>
            </a:custGeom>
            <a:solidFill>
              <a:schemeClr val="bg1"/>
            </a:solidFill>
            <a:ln w="4196" cap="flat">
              <a:noFill/>
              <a:prstDash val="solid"/>
              <a:miter/>
            </a:ln>
          </p:spPr>
          <p:txBody>
            <a:bodyPr rtlCol="0" anchor="ctr"/>
            <a:lstStyle/>
            <a:p>
              <a:endParaRPr lang="en-GB"/>
            </a:p>
          </p:txBody>
        </p:sp>
        <p:sp>
          <p:nvSpPr>
            <p:cNvPr id="11" name="Freeform 10">
              <a:extLst>
                <a:ext uri="{FF2B5EF4-FFF2-40B4-BE49-F238E27FC236}">
                  <a16:creationId xmlns:a16="http://schemas.microsoft.com/office/drawing/2014/main" id="{994E4FA6-1DD3-C715-9C6C-FA55489B8A19}"/>
                </a:ext>
              </a:extLst>
            </p:cNvPr>
            <p:cNvSpPr/>
            <p:nvPr/>
          </p:nvSpPr>
          <p:spPr>
            <a:xfrm>
              <a:off x="104267" y="6437037"/>
              <a:ext cx="329799" cy="326949"/>
            </a:xfrm>
            <a:custGeom>
              <a:avLst/>
              <a:gdLst>
                <a:gd name="connsiteX0" fmla="*/ 83367 w 329799"/>
                <a:gd name="connsiteY0" fmla="*/ -30 h 326950"/>
                <a:gd name="connsiteX1" fmla="*/ 146 w 329799"/>
                <a:gd name="connsiteY1" fmla="*/ 14466 h 326950"/>
                <a:gd name="connsiteX2" fmla="*/ 146 w 329799"/>
                <a:gd name="connsiteY2" fmla="*/ 14466 h 326950"/>
                <a:gd name="connsiteX3" fmla="*/ 146 w 329799"/>
                <a:gd name="connsiteY3" fmla="*/ 24404 h 326950"/>
                <a:gd name="connsiteX4" fmla="*/ 8468 w 329799"/>
                <a:gd name="connsiteY4" fmla="*/ 21969 h 326950"/>
                <a:gd name="connsiteX5" fmla="*/ 14503 w 329799"/>
                <a:gd name="connsiteY5" fmla="*/ 20790 h 326950"/>
                <a:gd name="connsiteX6" fmla="*/ 16632 w 329799"/>
                <a:gd name="connsiteY6" fmla="*/ 20476 h 326950"/>
                <a:gd name="connsiteX7" fmla="*/ 78871 w 329799"/>
                <a:gd name="connsiteY7" fmla="*/ 37525 h 326950"/>
                <a:gd name="connsiteX8" fmla="*/ 78871 w 329799"/>
                <a:gd name="connsiteY8" fmla="*/ 37525 h 326950"/>
                <a:gd name="connsiteX9" fmla="*/ 23811 w 329799"/>
                <a:gd name="connsiteY9" fmla="*/ 192849 h 326950"/>
                <a:gd name="connsiteX10" fmla="*/ 422 w 329799"/>
                <a:gd name="connsiteY10" fmla="*/ 210840 h 326950"/>
                <a:gd name="connsiteX11" fmla="*/ -51 w 329799"/>
                <a:gd name="connsiteY11" fmla="*/ 211154 h 326950"/>
                <a:gd name="connsiteX12" fmla="*/ -51 w 329799"/>
                <a:gd name="connsiteY12" fmla="*/ 227653 h 326950"/>
                <a:gd name="connsiteX13" fmla="*/ 6969 w 329799"/>
                <a:gd name="connsiteY13" fmla="*/ 222664 h 326950"/>
                <a:gd name="connsiteX14" fmla="*/ 32291 w 329799"/>
                <a:gd name="connsiteY14" fmla="*/ 263204 h 326950"/>
                <a:gd name="connsiteX15" fmla="*/ 44123 w 329799"/>
                <a:gd name="connsiteY15" fmla="*/ 255348 h 326950"/>
                <a:gd name="connsiteX16" fmla="*/ 65658 w 329799"/>
                <a:gd name="connsiteY16" fmla="*/ 239438 h 326950"/>
                <a:gd name="connsiteX17" fmla="*/ 66604 w 329799"/>
                <a:gd name="connsiteY17" fmla="*/ 238613 h 326950"/>
                <a:gd name="connsiteX18" fmla="*/ 33474 w 329799"/>
                <a:gd name="connsiteY18" fmla="*/ 200705 h 326950"/>
                <a:gd name="connsiteX19" fmla="*/ 57139 w 329799"/>
                <a:gd name="connsiteY19" fmla="*/ 175761 h 326950"/>
                <a:gd name="connsiteX20" fmla="*/ 97842 w 329799"/>
                <a:gd name="connsiteY20" fmla="*/ 208522 h 326950"/>
                <a:gd name="connsiteX21" fmla="*/ 121507 w 329799"/>
                <a:gd name="connsiteY21" fmla="*/ 179218 h 326950"/>
                <a:gd name="connsiteX22" fmla="*/ 74729 w 329799"/>
                <a:gd name="connsiteY22" fmla="*/ 151327 h 326950"/>
                <a:gd name="connsiteX23" fmla="*/ 88179 w 329799"/>
                <a:gd name="connsiteY23" fmla="*/ 126539 h 326950"/>
                <a:gd name="connsiteX24" fmla="*/ 140044 w 329799"/>
                <a:gd name="connsiteY24" fmla="*/ 148263 h 326950"/>
                <a:gd name="connsiteX25" fmla="*/ 150023 w 329799"/>
                <a:gd name="connsiteY25" fmla="*/ 124300 h 326950"/>
                <a:gd name="connsiteX26" fmla="*/ 151166 w 329799"/>
                <a:gd name="connsiteY26" fmla="*/ 120804 h 326950"/>
                <a:gd name="connsiteX27" fmla="*/ 96028 w 329799"/>
                <a:gd name="connsiteY27" fmla="*/ 104737 h 326950"/>
                <a:gd name="connsiteX28" fmla="*/ 99972 w 329799"/>
                <a:gd name="connsiteY28" fmla="*/ 83878 h 326950"/>
                <a:gd name="connsiteX29" fmla="*/ 156767 w 329799"/>
                <a:gd name="connsiteY29" fmla="*/ 94013 h 326950"/>
                <a:gd name="connsiteX30" fmla="*/ 156452 w 329799"/>
                <a:gd name="connsiteY30" fmla="*/ 72015 h 326950"/>
                <a:gd name="connsiteX31" fmla="*/ 99656 w 329799"/>
                <a:gd name="connsiteY31" fmla="*/ 66594 h 326950"/>
                <a:gd name="connsiteX32" fmla="*/ 95712 w 329799"/>
                <a:gd name="connsiteY32" fmla="*/ 51470 h 326950"/>
                <a:gd name="connsiteX33" fmla="*/ 150299 w 329799"/>
                <a:gd name="connsiteY33" fmla="*/ 52373 h 326950"/>
                <a:gd name="connsiteX34" fmla="*/ 145329 w 329799"/>
                <a:gd name="connsiteY34" fmla="*/ 43574 h 326950"/>
                <a:gd name="connsiteX35" fmla="*/ 140675 w 329799"/>
                <a:gd name="connsiteY35" fmla="*/ 37603 h 326950"/>
                <a:gd name="connsiteX36" fmla="*/ 89756 w 329799"/>
                <a:gd name="connsiteY36" fmla="*/ 39921 h 326950"/>
                <a:gd name="connsiteX37" fmla="*/ 81316 w 329799"/>
                <a:gd name="connsiteY37" fmla="*/ 30493 h 326950"/>
                <a:gd name="connsiteX38" fmla="*/ 127462 w 329799"/>
                <a:gd name="connsiteY38" fmla="*/ 25700 h 326950"/>
                <a:gd name="connsiteX39" fmla="*/ 113461 w 329799"/>
                <a:gd name="connsiteY39" fmla="*/ 17844 h 326950"/>
                <a:gd name="connsiteX40" fmla="*/ 72166 w 329799"/>
                <a:gd name="connsiteY40" fmla="*/ 23933 h 326950"/>
                <a:gd name="connsiteX41" fmla="*/ 61832 w 329799"/>
                <a:gd name="connsiteY41" fmla="*/ 19219 h 326950"/>
                <a:gd name="connsiteX42" fmla="*/ 89204 w 329799"/>
                <a:gd name="connsiteY42" fmla="*/ 13091 h 326950"/>
                <a:gd name="connsiteX43" fmla="*/ 89204 w 329799"/>
                <a:gd name="connsiteY43" fmla="*/ 13091 h 326950"/>
                <a:gd name="connsiteX44" fmla="*/ 51538 w 329799"/>
                <a:gd name="connsiteY44" fmla="*/ 16351 h 326950"/>
                <a:gd name="connsiteX45" fmla="*/ 40652 w 329799"/>
                <a:gd name="connsiteY45" fmla="*/ 14819 h 326950"/>
                <a:gd name="connsiteX46" fmla="*/ 66249 w 329799"/>
                <a:gd name="connsiteY46" fmla="*/ 9594 h 326950"/>
                <a:gd name="connsiteX47" fmla="*/ 152429 w 329799"/>
                <a:gd name="connsiteY47" fmla="*/ 40392 h 326950"/>
                <a:gd name="connsiteX48" fmla="*/ 152429 w 329799"/>
                <a:gd name="connsiteY48" fmla="*/ 40392 h 326950"/>
                <a:gd name="connsiteX49" fmla="*/ 133023 w 329799"/>
                <a:gd name="connsiteY49" fmla="*/ 186131 h 326950"/>
                <a:gd name="connsiteX50" fmla="*/ 98552 w 329799"/>
                <a:gd name="connsiteY50" fmla="*/ 228360 h 326950"/>
                <a:gd name="connsiteX51" fmla="*/ 65224 w 329799"/>
                <a:gd name="connsiteY51" fmla="*/ 258490 h 326950"/>
                <a:gd name="connsiteX52" fmla="*/ 11584 w 329799"/>
                <a:gd name="connsiteY52" fmla="*/ 292705 h 326950"/>
                <a:gd name="connsiteX53" fmla="*/ 28 w 329799"/>
                <a:gd name="connsiteY53" fmla="*/ 298480 h 326950"/>
                <a:gd name="connsiteX54" fmla="*/ 28 w 329799"/>
                <a:gd name="connsiteY54" fmla="*/ 315961 h 326950"/>
                <a:gd name="connsiteX55" fmla="*/ 49724 w 329799"/>
                <a:gd name="connsiteY55" fmla="*/ 287245 h 326950"/>
                <a:gd name="connsiteX56" fmla="*/ 75991 w 329799"/>
                <a:gd name="connsiteY56" fmla="*/ 324407 h 326950"/>
                <a:gd name="connsiteX57" fmla="*/ 116695 w 329799"/>
                <a:gd name="connsiteY57" fmla="*/ 294984 h 326950"/>
                <a:gd name="connsiteX58" fmla="*/ 85142 w 329799"/>
                <a:gd name="connsiteY58" fmla="*/ 259629 h 326950"/>
                <a:gd name="connsiteX59" fmla="*/ 117996 w 329799"/>
                <a:gd name="connsiteY59" fmla="*/ 226514 h 326950"/>
                <a:gd name="connsiteX60" fmla="*/ 154243 w 329799"/>
                <a:gd name="connsiteY60" fmla="*/ 258804 h 326950"/>
                <a:gd name="connsiteX61" fmla="*/ 182562 w 329799"/>
                <a:gd name="connsiteY61" fmla="*/ 222154 h 326950"/>
                <a:gd name="connsiteX62" fmla="*/ 143120 w 329799"/>
                <a:gd name="connsiteY62" fmla="*/ 193320 h 326950"/>
                <a:gd name="connsiteX63" fmla="*/ 161855 w 329799"/>
                <a:gd name="connsiteY63" fmla="*/ 159183 h 326950"/>
                <a:gd name="connsiteX64" fmla="*/ 203781 w 329799"/>
                <a:gd name="connsiteY64" fmla="*/ 184089 h 326950"/>
                <a:gd name="connsiteX65" fmla="*/ 215811 w 329799"/>
                <a:gd name="connsiteY65" fmla="*/ 149638 h 326950"/>
                <a:gd name="connsiteX66" fmla="*/ 172701 w 329799"/>
                <a:gd name="connsiteY66" fmla="*/ 128386 h 326950"/>
                <a:gd name="connsiteX67" fmla="*/ 177198 w 329799"/>
                <a:gd name="connsiteY67" fmla="*/ 99277 h 326950"/>
                <a:gd name="connsiteX68" fmla="*/ 220583 w 329799"/>
                <a:gd name="connsiteY68" fmla="*/ 116994 h 326950"/>
                <a:gd name="connsiteX69" fmla="*/ 218729 w 329799"/>
                <a:gd name="connsiteY69" fmla="*/ 90124 h 326950"/>
                <a:gd name="connsiteX70" fmla="*/ 175738 w 329799"/>
                <a:gd name="connsiteY70" fmla="*/ 75315 h 326950"/>
                <a:gd name="connsiteX71" fmla="*/ 169349 w 329799"/>
                <a:gd name="connsiteY71" fmla="*/ 54259 h 326950"/>
                <a:gd name="connsiteX72" fmla="*/ 211393 w 329799"/>
                <a:gd name="connsiteY72" fmla="*/ 66397 h 326950"/>
                <a:gd name="connsiteX73" fmla="*/ 200547 w 329799"/>
                <a:gd name="connsiteY73" fmla="*/ 49270 h 326950"/>
                <a:gd name="connsiteX74" fmla="*/ 159134 w 329799"/>
                <a:gd name="connsiteY74" fmla="*/ 37132 h 326950"/>
                <a:gd name="connsiteX75" fmla="*/ 148721 w 329799"/>
                <a:gd name="connsiteY75" fmla="*/ 26172 h 326950"/>
                <a:gd name="connsiteX76" fmla="*/ 171873 w 329799"/>
                <a:gd name="connsiteY76" fmla="*/ 30611 h 326950"/>
                <a:gd name="connsiteX77" fmla="*/ 138664 w 329799"/>
                <a:gd name="connsiteY77" fmla="*/ 18630 h 326950"/>
                <a:gd name="connsiteX78" fmla="*/ 131051 w 329799"/>
                <a:gd name="connsiteY78" fmla="*/ 14151 h 326950"/>
                <a:gd name="connsiteX79" fmla="*/ 198101 w 329799"/>
                <a:gd name="connsiteY79" fmla="*/ 40706 h 326950"/>
                <a:gd name="connsiteX80" fmla="*/ 204373 w 329799"/>
                <a:gd name="connsiteY80" fmla="*/ 46088 h 326950"/>
                <a:gd name="connsiteX81" fmla="*/ 210644 w 329799"/>
                <a:gd name="connsiteY81" fmla="*/ 53395 h 326950"/>
                <a:gd name="connsiteX82" fmla="*/ 210644 w 329799"/>
                <a:gd name="connsiteY82" fmla="*/ 53395 h 326950"/>
                <a:gd name="connsiteX83" fmla="*/ 102575 w 329799"/>
                <a:gd name="connsiteY83" fmla="*/ 326881 h 326950"/>
                <a:gd name="connsiteX84" fmla="*/ 144856 w 329799"/>
                <a:gd name="connsiteY84" fmla="*/ 326881 h 326950"/>
                <a:gd name="connsiteX85" fmla="*/ 136218 w 329799"/>
                <a:gd name="connsiteY85" fmla="*/ 317336 h 326950"/>
                <a:gd name="connsiteX86" fmla="*/ 173727 w 329799"/>
                <a:gd name="connsiteY86" fmla="*/ 277503 h 326950"/>
                <a:gd name="connsiteX87" fmla="*/ 202046 w 329799"/>
                <a:gd name="connsiteY87" fmla="*/ 305590 h 326950"/>
                <a:gd name="connsiteX88" fmla="*/ 232534 w 329799"/>
                <a:gd name="connsiteY88" fmla="*/ 265443 h 326950"/>
                <a:gd name="connsiteX89" fmla="*/ 201809 w 329799"/>
                <a:gd name="connsiteY89" fmla="*/ 237513 h 326950"/>
                <a:gd name="connsiteX90" fmla="*/ 222358 w 329799"/>
                <a:gd name="connsiteY90" fmla="*/ 196777 h 326950"/>
                <a:gd name="connsiteX91" fmla="*/ 254818 w 329799"/>
                <a:gd name="connsiteY91" fmla="*/ 223725 h 326950"/>
                <a:gd name="connsiteX92" fmla="*/ 267202 w 329799"/>
                <a:gd name="connsiteY92" fmla="*/ 185856 h 326950"/>
                <a:gd name="connsiteX93" fmla="*/ 233796 w 329799"/>
                <a:gd name="connsiteY93" fmla="*/ 160244 h 326950"/>
                <a:gd name="connsiteX94" fmla="*/ 238253 w 329799"/>
                <a:gd name="connsiteY94" fmla="*/ 125832 h 326950"/>
                <a:gd name="connsiteX95" fmla="*/ 271541 w 329799"/>
                <a:gd name="connsiteY95" fmla="*/ 149638 h 326950"/>
                <a:gd name="connsiteX96" fmla="*/ 268701 w 329799"/>
                <a:gd name="connsiteY96" fmla="*/ 119783 h 326950"/>
                <a:gd name="connsiteX97" fmla="*/ 236280 w 329799"/>
                <a:gd name="connsiteY97" fmla="*/ 97666 h 326950"/>
                <a:gd name="connsiteX98" fmla="*/ 229181 w 329799"/>
                <a:gd name="connsiteY98" fmla="*/ 73154 h 326950"/>
                <a:gd name="connsiteX99" fmla="*/ 229181 w 329799"/>
                <a:gd name="connsiteY99" fmla="*/ 73154 h 326950"/>
                <a:gd name="connsiteX100" fmla="*/ 252846 w 329799"/>
                <a:gd name="connsiteY100" fmla="*/ 88003 h 326950"/>
                <a:gd name="connsiteX101" fmla="*/ 222318 w 329799"/>
                <a:gd name="connsiteY101" fmla="*/ 59248 h 326950"/>
                <a:gd name="connsiteX102" fmla="*/ 216008 w 329799"/>
                <a:gd name="connsiteY102" fmla="*/ 50056 h 326950"/>
                <a:gd name="connsiteX103" fmla="*/ 259117 w 329799"/>
                <a:gd name="connsiteY103" fmla="*/ 87728 h 326950"/>
                <a:gd name="connsiteX104" fmla="*/ 271541 w 329799"/>
                <a:gd name="connsiteY104" fmla="*/ 110041 h 326950"/>
                <a:gd name="connsiteX105" fmla="*/ 273947 w 329799"/>
                <a:gd name="connsiteY105" fmla="*/ 117072 h 326950"/>
                <a:gd name="connsiteX106" fmla="*/ 266059 w 329799"/>
                <a:gd name="connsiteY106" fmla="*/ 224628 h 326950"/>
                <a:gd name="connsiteX107" fmla="*/ 202953 w 329799"/>
                <a:gd name="connsiteY107" fmla="*/ 326764 h 326950"/>
                <a:gd name="connsiteX108" fmla="*/ 253240 w 329799"/>
                <a:gd name="connsiteY108" fmla="*/ 326764 h 326950"/>
                <a:gd name="connsiteX109" fmla="*/ 267005 w 329799"/>
                <a:gd name="connsiteY109" fmla="*/ 305747 h 326950"/>
                <a:gd name="connsiteX110" fmla="*/ 248310 w 329799"/>
                <a:gd name="connsiteY110" fmla="*/ 282806 h 326950"/>
                <a:gd name="connsiteX111" fmla="*/ 270358 w 329799"/>
                <a:gd name="connsiteY111" fmla="*/ 239595 h 326950"/>
                <a:gd name="connsiteX112" fmla="*/ 288658 w 329799"/>
                <a:gd name="connsiteY112" fmla="*/ 262536 h 326950"/>
                <a:gd name="connsiteX113" fmla="*/ 300215 w 329799"/>
                <a:gd name="connsiteY113" fmla="*/ 224118 h 326950"/>
                <a:gd name="connsiteX114" fmla="*/ 282703 w 329799"/>
                <a:gd name="connsiteY114" fmla="*/ 201177 h 326950"/>
                <a:gd name="connsiteX115" fmla="*/ 287317 w 329799"/>
                <a:gd name="connsiteY115" fmla="*/ 164644 h 326950"/>
                <a:gd name="connsiteX116" fmla="*/ 301516 w 329799"/>
                <a:gd name="connsiteY116" fmla="*/ 183224 h 326950"/>
                <a:gd name="connsiteX117" fmla="*/ 301516 w 329799"/>
                <a:gd name="connsiteY117" fmla="*/ 183224 h 326950"/>
                <a:gd name="connsiteX118" fmla="*/ 285740 w 329799"/>
                <a:gd name="connsiteY118" fmla="*/ 136360 h 326950"/>
                <a:gd name="connsiteX119" fmla="*/ 285503 w 329799"/>
                <a:gd name="connsiteY119" fmla="*/ 134985 h 326950"/>
                <a:gd name="connsiteX120" fmla="*/ 280021 w 329799"/>
                <a:gd name="connsiteY120" fmla="*/ 114283 h 326950"/>
                <a:gd name="connsiteX121" fmla="*/ 301398 w 329799"/>
                <a:gd name="connsiteY121" fmla="*/ 154862 h 326950"/>
                <a:gd name="connsiteX122" fmla="*/ 309957 w 329799"/>
                <a:gd name="connsiteY122" fmla="*/ 205144 h 326950"/>
                <a:gd name="connsiteX123" fmla="*/ 267755 w 329799"/>
                <a:gd name="connsiteY123" fmla="*/ 326921 h 326950"/>
                <a:gd name="connsiteX124" fmla="*/ 280415 w 329799"/>
                <a:gd name="connsiteY124" fmla="*/ 326921 h 326950"/>
                <a:gd name="connsiteX125" fmla="*/ 301674 w 329799"/>
                <a:gd name="connsiteY125" fmla="*/ 281038 h 326950"/>
                <a:gd name="connsiteX126" fmla="*/ 306683 w 329799"/>
                <a:gd name="connsiteY126" fmla="*/ 296359 h 326950"/>
                <a:gd name="connsiteX127" fmla="*/ 315715 w 329799"/>
                <a:gd name="connsiteY127" fmla="*/ 249573 h 326950"/>
                <a:gd name="connsiteX128" fmla="*/ 313388 w 329799"/>
                <a:gd name="connsiteY128" fmla="*/ 242031 h 326950"/>
                <a:gd name="connsiteX129" fmla="*/ 317332 w 329799"/>
                <a:gd name="connsiteY129" fmla="*/ 212765 h 326950"/>
                <a:gd name="connsiteX130" fmla="*/ 319580 w 329799"/>
                <a:gd name="connsiteY130" fmla="*/ 245330 h 326950"/>
                <a:gd name="connsiteX131" fmla="*/ 312954 w 329799"/>
                <a:gd name="connsiteY131" fmla="*/ 301112 h 326950"/>
                <a:gd name="connsiteX132" fmla="*/ 305066 w 329799"/>
                <a:gd name="connsiteY132" fmla="*/ 326921 h 326950"/>
                <a:gd name="connsiteX133" fmla="*/ 315952 w 329799"/>
                <a:gd name="connsiteY133" fmla="*/ 326921 h 326950"/>
                <a:gd name="connsiteX134" fmla="*/ 163831 w 329799"/>
                <a:gd name="connsiteY134" fmla="*/ 13643 h 326950"/>
                <a:gd name="connsiteX135" fmla="*/ 83367 w 329799"/>
                <a:gd name="connsiteY135" fmla="*/ -30 h 32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29799" h="326950">
                  <a:moveTo>
                    <a:pt x="83367" y="-30"/>
                  </a:moveTo>
                  <a:cubicBezTo>
                    <a:pt x="54991" y="-57"/>
                    <a:pt x="26828" y="4848"/>
                    <a:pt x="146" y="14466"/>
                  </a:cubicBezTo>
                  <a:lnTo>
                    <a:pt x="146" y="14466"/>
                  </a:lnTo>
                  <a:lnTo>
                    <a:pt x="146" y="24404"/>
                  </a:lnTo>
                  <a:cubicBezTo>
                    <a:pt x="2867" y="23423"/>
                    <a:pt x="5647" y="22610"/>
                    <a:pt x="8468" y="21969"/>
                  </a:cubicBezTo>
                  <a:cubicBezTo>
                    <a:pt x="10493" y="21523"/>
                    <a:pt x="12504" y="21131"/>
                    <a:pt x="14503" y="20790"/>
                  </a:cubicBezTo>
                  <a:lnTo>
                    <a:pt x="16632" y="20476"/>
                  </a:lnTo>
                  <a:cubicBezTo>
                    <a:pt x="42821" y="16548"/>
                    <a:pt x="65342" y="22047"/>
                    <a:pt x="78871" y="37525"/>
                  </a:cubicBezTo>
                  <a:lnTo>
                    <a:pt x="78871" y="37525"/>
                  </a:lnTo>
                  <a:cubicBezTo>
                    <a:pt x="108215" y="71465"/>
                    <a:pt x="83683" y="140956"/>
                    <a:pt x="23811" y="192849"/>
                  </a:cubicBezTo>
                  <a:cubicBezTo>
                    <a:pt x="16386" y="199310"/>
                    <a:pt x="8575" y="205318"/>
                    <a:pt x="422" y="210840"/>
                  </a:cubicBezTo>
                  <a:cubicBezTo>
                    <a:pt x="281" y="210967"/>
                    <a:pt x="121" y="211073"/>
                    <a:pt x="-51" y="211154"/>
                  </a:cubicBezTo>
                  <a:lnTo>
                    <a:pt x="-51" y="227653"/>
                  </a:lnTo>
                  <a:cubicBezTo>
                    <a:pt x="2315" y="226043"/>
                    <a:pt x="4682" y="224393"/>
                    <a:pt x="6969" y="222664"/>
                  </a:cubicBezTo>
                  <a:cubicBezTo>
                    <a:pt x="10243" y="228164"/>
                    <a:pt x="31896" y="262615"/>
                    <a:pt x="32291" y="263204"/>
                  </a:cubicBezTo>
                  <a:cubicBezTo>
                    <a:pt x="33908" y="262183"/>
                    <a:pt x="38562" y="259276"/>
                    <a:pt x="44123" y="255348"/>
                  </a:cubicBezTo>
                  <a:cubicBezTo>
                    <a:pt x="50670" y="250909"/>
                    <a:pt x="58558" y="245370"/>
                    <a:pt x="65658" y="239438"/>
                  </a:cubicBezTo>
                  <a:lnTo>
                    <a:pt x="66604" y="238613"/>
                  </a:lnTo>
                  <a:lnTo>
                    <a:pt x="33474" y="200705"/>
                  </a:lnTo>
                  <a:cubicBezTo>
                    <a:pt x="36826" y="197405"/>
                    <a:pt x="48028" y="186328"/>
                    <a:pt x="57139" y="175761"/>
                  </a:cubicBezTo>
                  <a:cubicBezTo>
                    <a:pt x="59229" y="177371"/>
                    <a:pt x="86798" y="198662"/>
                    <a:pt x="97842" y="208522"/>
                  </a:cubicBezTo>
                  <a:cubicBezTo>
                    <a:pt x="106363" y="199278"/>
                    <a:pt x="114268" y="189489"/>
                    <a:pt x="121507" y="179218"/>
                  </a:cubicBezTo>
                  <a:cubicBezTo>
                    <a:pt x="106322" y="169279"/>
                    <a:pt x="74729" y="151327"/>
                    <a:pt x="74729" y="151327"/>
                  </a:cubicBezTo>
                  <a:cubicBezTo>
                    <a:pt x="79801" y="143395"/>
                    <a:pt x="84296" y="135111"/>
                    <a:pt x="88179" y="126539"/>
                  </a:cubicBezTo>
                  <a:cubicBezTo>
                    <a:pt x="88179" y="126539"/>
                    <a:pt x="125017" y="140878"/>
                    <a:pt x="140044" y="148263"/>
                  </a:cubicBezTo>
                  <a:cubicBezTo>
                    <a:pt x="143921" y="140514"/>
                    <a:pt x="147256" y="132508"/>
                    <a:pt x="150023" y="124300"/>
                  </a:cubicBezTo>
                  <a:cubicBezTo>
                    <a:pt x="150417" y="123122"/>
                    <a:pt x="150811" y="121983"/>
                    <a:pt x="151166" y="120804"/>
                  </a:cubicBezTo>
                  <a:cubicBezTo>
                    <a:pt x="133124" y="114360"/>
                    <a:pt x="114712" y="108995"/>
                    <a:pt x="96028" y="104737"/>
                  </a:cubicBezTo>
                  <a:cubicBezTo>
                    <a:pt x="97991" y="97922"/>
                    <a:pt x="99311" y="90939"/>
                    <a:pt x="99972" y="83878"/>
                  </a:cubicBezTo>
                  <a:cubicBezTo>
                    <a:pt x="119122" y="85902"/>
                    <a:pt x="138102" y="89290"/>
                    <a:pt x="156767" y="94013"/>
                  </a:cubicBezTo>
                  <a:cubicBezTo>
                    <a:pt x="157517" y="86693"/>
                    <a:pt x="157412" y="79311"/>
                    <a:pt x="156452" y="72015"/>
                  </a:cubicBezTo>
                  <a:cubicBezTo>
                    <a:pt x="137710" y="68593"/>
                    <a:pt x="118709" y="66780"/>
                    <a:pt x="99656" y="66594"/>
                  </a:cubicBezTo>
                  <a:cubicBezTo>
                    <a:pt x="98960" y="61412"/>
                    <a:pt x="97636" y="56334"/>
                    <a:pt x="95712" y="51470"/>
                  </a:cubicBezTo>
                  <a:cubicBezTo>
                    <a:pt x="113898" y="50130"/>
                    <a:pt x="132168" y="50432"/>
                    <a:pt x="150299" y="52373"/>
                  </a:cubicBezTo>
                  <a:cubicBezTo>
                    <a:pt x="148826" y="49341"/>
                    <a:pt x="147167" y="46402"/>
                    <a:pt x="145329" y="43574"/>
                  </a:cubicBezTo>
                  <a:cubicBezTo>
                    <a:pt x="143870" y="41492"/>
                    <a:pt x="140675" y="37603"/>
                    <a:pt x="140675" y="37603"/>
                  </a:cubicBezTo>
                  <a:cubicBezTo>
                    <a:pt x="123667" y="36679"/>
                    <a:pt x="106609" y="37456"/>
                    <a:pt x="89756" y="39921"/>
                  </a:cubicBezTo>
                  <a:cubicBezTo>
                    <a:pt x="87325" y="36458"/>
                    <a:pt x="84492" y="33294"/>
                    <a:pt x="81316" y="30493"/>
                  </a:cubicBezTo>
                  <a:cubicBezTo>
                    <a:pt x="96490" y="27307"/>
                    <a:pt x="111955" y="25701"/>
                    <a:pt x="127462" y="25700"/>
                  </a:cubicBezTo>
                  <a:cubicBezTo>
                    <a:pt x="123021" y="22701"/>
                    <a:pt x="118338" y="20073"/>
                    <a:pt x="113461" y="17844"/>
                  </a:cubicBezTo>
                  <a:cubicBezTo>
                    <a:pt x="99517" y="18398"/>
                    <a:pt x="85673" y="20440"/>
                    <a:pt x="72166" y="23933"/>
                  </a:cubicBezTo>
                  <a:cubicBezTo>
                    <a:pt x="68900" y="22000"/>
                    <a:pt x="65435" y="20419"/>
                    <a:pt x="61832" y="19219"/>
                  </a:cubicBezTo>
                  <a:cubicBezTo>
                    <a:pt x="70782" y="16472"/>
                    <a:pt x="79934" y="14423"/>
                    <a:pt x="89204" y="13091"/>
                  </a:cubicBezTo>
                  <a:lnTo>
                    <a:pt x="89204" y="13091"/>
                  </a:lnTo>
                  <a:cubicBezTo>
                    <a:pt x="74335" y="11166"/>
                    <a:pt x="53707" y="15801"/>
                    <a:pt x="51538" y="16351"/>
                  </a:cubicBezTo>
                  <a:cubicBezTo>
                    <a:pt x="48343" y="15683"/>
                    <a:pt x="43926" y="15133"/>
                    <a:pt x="40652" y="14819"/>
                  </a:cubicBezTo>
                  <a:cubicBezTo>
                    <a:pt x="49065" y="12538"/>
                    <a:pt x="57614" y="10793"/>
                    <a:pt x="66249" y="9594"/>
                  </a:cubicBezTo>
                  <a:cubicBezTo>
                    <a:pt x="79541" y="7748"/>
                    <a:pt x="123991" y="2288"/>
                    <a:pt x="152429" y="40392"/>
                  </a:cubicBezTo>
                  <a:lnTo>
                    <a:pt x="152429" y="40392"/>
                  </a:lnTo>
                  <a:cubicBezTo>
                    <a:pt x="179327" y="76454"/>
                    <a:pt x="169546" y="132432"/>
                    <a:pt x="133023" y="186131"/>
                  </a:cubicBezTo>
                  <a:cubicBezTo>
                    <a:pt x="122866" y="201237"/>
                    <a:pt x="111326" y="215373"/>
                    <a:pt x="98552" y="228360"/>
                  </a:cubicBezTo>
                  <a:cubicBezTo>
                    <a:pt x="88112" y="239115"/>
                    <a:pt x="76979" y="249179"/>
                    <a:pt x="65224" y="258490"/>
                  </a:cubicBezTo>
                  <a:cubicBezTo>
                    <a:pt x="48637" y="271791"/>
                    <a:pt x="30652" y="283262"/>
                    <a:pt x="11584" y="292705"/>
                  </a:cubicBezTo>
                  <a:cubicBezTo>
                    <a:pt x="7640" y="294709"/>
                    <a:pt x="3696" y="296634"/>
                    <a:pt x="28" y="298480"/>
                  </a:cubicBezTo>
                  <a:lnTo>
                    <a:pt x="28" y="315961"/>
                  </a:lnTo>
                  <a:cubicBezTo>
                    <a:pt x="17466" y="307971"/>
                    <a:pt x="34105" y="298358"/>
                    <a:pt x="49724" y="287245"/>
                  </a:cubicBezTo>
                  <a:lnTo>
                    <a:pt x="75991" y="324407"/>
                  </a:lnTo>
                  <a:cubicBezTo>
                    <a:pt x="90115" y="315383"/>
                    <a:pt x="103705" y="305563"/>
                    <a:pt x="116695" y="294984"/>
                  </a:cubicBezTo>
                  <a:lnTo>
                    <a:pt x="85142" y="259629"/>
                  </a:lnTo>
                  <a:cubicBezTo>
                    <a:pt x="96818" y="249328"/>
                    <a:pt x="107793" y="238265"/>
                    <a:pt x="117996" y="226514"/>
                  </a:cubicBezTo>
                  <a:cubicBezTo>
                    <a:pt x="117996" y="226514"/>
                    <a:pt x="150654" y="255387"/>
                    <a:pt x="154243" y="258804"/>
                  </a:cubicBezTo>
                  <a:cubicBezTo>
                    <a:pt x="164532" y="247263"/>
                    <a:pt x="173995" y="235016"/>
                    <a:pt x="182562" y="222154"/>
                  </a:cubicBezTo>
                  <a:cubicBezTo>
                    <a:pt x="165523" y="208719"/>
                    <a:pt x="143357" y="193556"/>
                    <a:pt x="143120" y="193320"/>
                  </a:cubicBezTo>
                  <a:cubicBezTo>
                    <a:pt x="150069" y="182339"/>
                    <a:pt x="156326" y="170938"/>
                    <a:pt x="161855" y="159183"/>
                  </a:cubicBezTo>
                  <a:cubicBezTo>
                    <a:pt x="161855" y="159183"/>
                    <a:pt x="183429" y="170968"/>
                    <a:pt x="203781" y="184089"/>
                  </a:cubicBezTo>
                  <a:cubicBezTo>
                    <a:pt x="208786" y="172975"/>
                    <a:pt x="212813" y="161448"/>
                    <a:pt x="215811" y="149638"/>
                  </a:cubicBezTo>
                  <a:cubicBezTo>
                    <a:pt x="202440" y="141781"/>
                    <a:pt x="172701" y="128386"/>
                    <a:pt x="172701" y="128386"/>
                  </a:cubicBezTo>
                  <a:cubicBezTo>
                    <a:pt x="175176" y="118858"/>
                    <a:pt x="176682" y="109106"/>
                    <a:pt x="177198" y="99277"/>
                  </a:cubicBezTo>
                  <a:cubicBezTo>
                    <a:pt x="192053" y="104177"/>
                    <a:pt x="206550" y="110097"/>
                    <a:pt x="220583" y="116994"/>
                  </a:cubicBezTo>
                  <a:cubicBezTo>
                    <a:pt x="220922" y="107997"/>
                    <a:pt x="220303" y="98990"/>
                    <a:pt x="218729" y="90124"/>
                  </a:cubicBezTo>
                  <a:cubicBezTo>
                    <a:pt x="204862" y="83943"/>
                    <a:pt x="190476" y="78988"/>
                    <a:pt x="175738" y="75315"/>
                  </a:cubicBezTo>
                  <a:cubicBezTo>
                    <a:pt x="174477" y="68063"/>
                    <a:pt x="172332" y="60992"/>
                    <a:pt x="169349" y="54259"/>
                  </a:cubicBezTo>
                  <a:cubicBezTo>
                    <a:pt x="183690" y="57087"/>
                    <a:pt x="197758" y="61148"/>
                    <a:pt x="211393" y="66397"/>
                  </a:cubicBezTo>
                  <a:cubicBezTo>
                    <a:pt x="208691" y="60163"/>
                    <a:pt x="205031" y="54385"/>
                    <a:pt x="200547" y="49270"/>
                  </a:cubicBezTo>
                  <a:cubicBezTo>
                    <a:pt x="187926" y="42356"/>
                    <a:pt x="159134" y="37132"/>
                    <a:pt x="159134" y="37132"/>
                  </a:cubicBezTo>
                  <a:cubicBezTo>
                    <a:pt x="156004" y="33171"/>
                    <a:pt x="152518" y="29503"/>
                    <a:pt x="148721" y="26172"/>
                  </a:cubicBezTo>
                  <a:cubicBezTo>
                    <a:pt x="157753" y="27429"/>
                    <a:pt x="171873" y="30611"/>
                    <a:pt x="171873" y="30611"/>
                  </a:cubicBezTo>
                  <a:cubicBezTo>
                    <a:pt x="161201" y="25599"/>
                    <a:pt x="150083" y="21588"/>
                    <a:pt x="138664" y="18630"/>
                  </a:cubicBezTo>
                  <a:cubicBezTo>
                    <a:pt x="138664" y="18630"/>
                    <a:pt x="135193" y="16351"/>
                    <a:pt x="131051" y="14151"/>
                  </a:cubicBezTo>
                  <a:cubicBezTo>
                    <a:pt x="131051" y="14151"/>
                    <a:pt x="174437" y="23029"/>
                    <a:pt x="198101" y="40706"/>
                  </a:cubicBezTo>
                  <a:cubicBezTo>
                    <a:pt x="200294" y="42378"/>
                    <a:pt x="202389" y="44175"/>
                    <a:pt x="204373" y="46088"/>
                  </a:cubicBezTo>
                  <a:cubicBezTo>
                    <a:pt x="206676" y="48333"/>
                    <a:pt x="208774" y="50779"/>
                    <a:pt x="210644" y="53395"/>
                  </a:cubicBezTo>
                  <a:lnTo>
                    <a:pt x="210644" y="53395"/>
                  </a:lnTo>
                  <a:cubicBezTo>
                    <a:pt x="257579" y="117386"/>
                    <a:pt x="216994" y="240656"/>
                    <a:pt x="102575" y="326881"/>
                  </a:cubicBezTo>
                  <a:lnTo>
                    <a:pt x="144856" y="326881"/>
                  </a:lnTo>
                  <a:lnTo>
                    <a:pt x="136218" y="317336"/>
                  </a:lnTo>
                  <a:cubicBezTo>
                    <a:pt x="149670" y="304977"/>
                    <a:pt x="162206" y="291664"/>
                    <a:pt x="173727" y="277503"/>
                  </a:cubicBezTo>
                  <a:lnTo>
                    <a:pt x="202046" y="305590"/>
                  </a:lnTo>
                  <a:cubicBezTo>
                    <a:pt x="213223" y="293004"/>
                    <a:pt x="223419" y="279581"/>
                    <a:pt x="232534" y="265443"/>
                  </a:cubicBezTo>
                  <a:cubicBezTo>
                    <a:pt x="232534" y="265443"/>
                    <a:pt x="217625" y="251223"/>
                    <a:pt x="201809" y="237513"/>
                  </a:cubicBezTo>
                  <a:cubicBezTo>
                    <a:pt x="209780" y="224524"/>
                    <a:pt x="216651" y="210899"/>
                    <a:pt x="222358" y="196777"/>
                  </a:cubicBezTo>
                  <a:cubicBezTo>
                    <a:pt x="233642" y="205188"/>
                    <a:pt x="244480" y="214183"/>
                    <a:pt x="254818" y="223725"/>
                  </a:cubicBezTo>
                  <a:cubicBezTo>
                    <a:pt x="260060" y="211491"/>
                    <a:pt x="264205" y="198819"/>
                    <a:pt x="267202" y="185856"/>
                  </a:cubicBezTo>
                  <a:cubicBezTo>
                    <a:pt x="256743" y="176481"/>
                    <a:pt x="245573" y="167918"/>
                    <a:pt x="233796" y="160244"/>
                  </a:cubicBezTo>
                  <a:cubicBezTo>
                    <a:pt x="236375" y="148940"/>
                    <a:pt x="237866" y="137417"/>
                    <a:pt x="238253" y="125832"/>
                  </a:cubicBezTo>
                  <a:cubicBezTo>
                    <a:pt x="249971" y="132867"/>
                    <a:pt x="261101" y="140827"/>
                    <a:pt x="271541" y="149638"/>
                  </a:cubicBezTo>
                  <a:cubicBezTo>
                    <a:pt x="271742" y="139611"/>
                    <a:pt x="270788" y="129594"/>
                    <a:pt x="268701" y="119783"/>
                  </a:cubicBezTo>
                  <a:cubicBezTo>
                    <a:pt x="258675" y="111333"/>
                    <a:pt x="247813" y="103922"/>
                    <a:pt x="236280" y="97666"/>
                  </a:cubicBezTo>
                  <a:cubicBezTo>
                    <a:pt x="234797" y="89267"/>
                    <a:pt x="232419" y="81049"/>
                    <a:pt x="229181" y="73154"/>
                  </a:cubicBezTo>
                  <a:cubicBezTo>
                    <a:pt x="229181" y="73154"/>
                    <a:pt x="229181" y="73154"/>
                    <a:pt x="229181" y="73154"/>
                  </a:cubicBezTo>
                  <a:cubicBezTo>
                    <a:pt x="237436" y="77501"/>
                    <a:pt x="245344" y="82464"/>
                    <a:pt x="252846" y="88003"/>
                  </a:cubicBezTo>
                  <a:cubicBezTo>
                    <a:pt x="243798" y="77296"/>
                    <a:pt x="233555" y="67650"/>
                    <a:pt x="222318" y="59248"/>
                  </a:cubicBezTo>
                  <a:cubicBezTo>
                    <a:pt x="220405" y="56058"/>
                    <a:pt x="218299" y="52988"/>
                    <a:pt x="216008" y="50056"/>
                  </a:cubicBezTo>
                  <a:cubicBezTo>
                    <a:pt x="231855" y="60831"/>
                    <a:pt x="246330" y="73481"/>
                    <a:pt x="259117" y="87728"/>
                  </a:cubicBezTo>
                  <a:cubicBezTo>
                    <a:pt x="264371" y="94494"/>
                    <a:pt x="268563" y="102018"/>
                    <a:pt x="271541" y="110041"/>
                  </a:cubicBezTo>
                  <a:cubicBezTo>
                    <a:pt x="272448" y="112398"/>
                    <a:pt x="273237" y="114754"/>
                    <a:pt x="273947" y="117072"/>
                  </a:cubicBezTo>
                  <a:cubicBezTo>
                    <a:pt x="284478" y="152427"/>
                    <a:pt x="277891" y="192102"/>
                    <a:pt x="266059" y="224628"/>
                  </a:cubicBezTo>
                  <a:cubicBezTo>
                    <a:pt x="251663" y="262325"/>
                    <a:pt x="230254" y="296975"/>
                    <a:pt x="202953" y="326764"/>
                  </a:cubicBezTo>
                  <a:lnTo>
                    <a:pt x="253240" y="326764"/>
                  </a:lnTo>
                  <a:cubicBezTo>
                    <a:pt x="258091" y="319850"/>
                    <a:pt x="262509" y="313290"/>
                    <a:pt x="267005" y="305747"/>
                  </a:cubicBezTo>
                  <a:cubicBezTo>
                    <a:pt x="263653" y="300680"/>
                    <a:pt x="248310" y="282806"/>
                    <a:pt x="248310" y="282806"/>
                  </a:cubicBezTo>
                  <a:cubicBezTo>
                    <a:pt x="256825" y="269024"/>
                    <a:pt x="264201" y="254572"/>
                    <a:pt x="270358" y="239595"/>
                  </a:cubicBezTo>
                  <a:cubicBezTo>
                    <a:pt x="276885" y="246893"/>
                    <a:pt x="282995" y="254552"/>
                    <a:pt x="288658" y="262536"/>
                  </a:cubicBezTo>
                  <a:cubicBezTo>
                    <a:pt x="293703" y="250116"/>
                    <a:pt x="297572" y="237254"/>
                    <a:pt x="300215" y="224118"/>
                  </a:cubicBezTo>
                  <a:cubicBezTo>
                    <a:pt x="294882" y="216100"/>
                    <a:pt x="289033" y="208436"/>
                    <a:pt x="282703" y="201177"/>
                  </a:cubicBezTo>
                  <a:cubicBezTo>
                    <a:pt x="285436" y="189178"/>
                    <a:pt x="286982" y="176942"/>
                    <a:pt x="287317" y="164644"/>
                  </a:cubicBezTo>
                  <a:cubicBezTo>
                    <a:pt x="293352" y="171832"/>
                    <a:pt x="301516" y="183224"/>
                    <a:pt x="301516" y="183224"/>
                  </a:cubicBezTo>
                  <a:lnTo>
                    <a:pt x="301516" y="183224"/>
                  </a:lnTo>
                  <a:cubicBezTo>
                    <a:pt x="299722" y="166651"/>
                    <a:pt x="294338" y="150662"/>
                    <a:pt x="285740" y="136360"/>
                  </a:cubicBezTo>
                  <a:cubicBezTo>
                    <a:pt x="285688" y="135897"/>
                    <a:pt x="285610" y="135438"/>
                    <a:pt x="285503" y="134985"/>
                  </a:cubicBezTo>
                  <a:cubicBezTo>
                    <a:pt x="284087" y="127983"/>
                    <a:pt x="282257" y="121070"/>
                    <a:pt x="280021" y="114283"/>
                  </a:cubicBezTo>
                  <a:cubicBezTo>
                    <a:pt x="288477" y="127071"/>
                    <a:pt x="295639" y="140664"/>
                    <a:pt x="301398" y="154862"/>
                  </a:cubicBezTo>
                  <a:cubicBezTo>
                    <a:pt x="307275" y="170971"/>
                    <a:pt x="310174" y="188006"/>
                    <a:pt x="309957" y="205144"/>
                  </a:cubicBezTo>
                  <a:cubicBezTo>
                    <a:pt x="309957" y="215201"/>
                    <a:pt x="307945" y="267643"/>
                    <a:pt x="267755" y="326921"/>
                  </a:cubicBezTo>
                  <a:lnTo>
                    <a:pt x="280415" y="326921"/>
                  </a:lnTo>
                  <a:cubicBezTo>
                    <a:pt x="288441" y="312076"/>
                    <a:pt x="295541" y="296752"/>
                    <a:pt x="301674" y="281038"/>
                  </a:cubicBezTo>
                  <a:cubicBezTo>
                    <a:pt x="301674" y="281549"/>
                    <a:pt x="304632" y="288895"/>
                    <a:pt x="306683" y="296359"/>
                  </a:cubicBezTo>
                  <a:cubicBezTo>
                    <a:pt x="311022" y="281046"/>
                    <a:pt x="314047" y="265396"/>
                    <a:pt x="315715" y="249573"/>
                  </a:cubicBezTo>
                  <a:cubicBezTo>
                    <a:pt x="315202" y="247491"/>
                    <a:pt x="314059" y="244113"/>
                    <a:pt x="313388" y="242031"/>
                  </a:cubicBezTo>
                  <a:cubicBezTo>
                    <a:pt x="315246" y="232356"/>
                    <a:pt x="316563" y="222586"/>
                    <a:pt x="317332" y="212765"/>
                  </a:cubicBezTo>
                  <a:cubicBezTo>
                    <a:pt x="318819" y="223557"/>
                    <a:pt x="319568" y="234437"/>
                    <a:pt x="319580" y="245330"/>
                  </a:cubicBezTo>
                  <a:cubicBezTo>
                    <a:pt x="319600" y="264120"/>
                    <a:pt x="317376" y="282845"/>
                    <a:pt x="312954" y="301112"/>
                  </a:cubicBezTo>
                  <a:cubicBezTo>
                    <a:pt x="310706" y="309990"/>
                    <a:pt x="307985" y="318711"/>
                    <a:pt x="305066" y="326921"/>
                  </a:cubicBezTo>
                  <a:lnTo>
                    <a:pt x="315952" y="326921"/>
                  </a:lnTo>
                  <a:cubicBezTo>
                    <a:pt x="360804" y="198573"/>
                    <a:pt x="292697" y="58314"/>
                    <a:pt x="163831" y="13643"/>
                  </a:cubicBezTo>
                  <a:cubicBezTo>
                    <a:pt x="137957" y="4673"/>
                    <a:pt x="110764" y="53"/>
                    <a:pt x="83367" y="-30"/>
                  </a:cubicBezTo>
                  <a:close/>
                </a:path>
              </a:pathLst>
            </a:custGeom>
            <a:solidFill>
              <a:schemeClr val="bg1"/>
            </a:solidFill>
            <a:ln w="4196" cap="flat">
              <a:noFill/>
              <a:prstDash val="solid"/>
              <a:miter/>
            </a:ln>
          </p:spPr>
          <p:txBody>
            <a:bodyPr rtlCol="0" anchor="ctr"/>
            <a:lstStyle/>
            <a:p>
              <a:endParaRPr lang="en-GB"/>
            </a:p>
          </p:txBody>
        </p:sp>
        <p:sp>
          <p:nvSpPr>
            <p:cNvPr id="12" name="Freeform 11">
              <a:extLst>
                <a:ext uri="{FF2B5EF4-FFF2-40B4-BE49-F238E27FC236}">
                  <a16:creationId xmlns:a16="http://schemas.microsoft.com/office/drawing/2014/main" id="{6AA67293-6BD1-F9D3-C497-93346EB4CFD1}"/>
                </a:ext>
              </a:extLst>
            </p:cNvPr>
            <p:cNvSpPr/>
            <p:nvPr/>
          </p:nvSpPr>
          <p:spPr>
            <a:xfrm>
              <a:off x="104189" y="6461511"/>
              <a:ext cx="23191" cy="15673"/>
            </a:xfrm>
            <a:custGeom>
              <a:avLst/>
              <a:gdLst>
                <a:gd name="connsiteX0" fmla="*/ 7837 w 23191"/>
                <a:gd name="connsiteY0" fmla="*/ 2091 h 15673"/>
                <a:gd name="connsiteX1" fmla="*/ -51 w 23191"/>
                <a:gd name="connsiteY1" fmla="*/ 7787 h 15673"/>
                <a:gd name="connsiteX2" fmla="*/ -51 w 23191"/>
                <a:gd name="connsiteY2" fmla="*/ 15644 h 15673"/>
                <a:gd name="connsiteX3" fmla="*/ 23140 w 23191"/>
                <a:gd name="connsiteY3" fmla="*/ -30 h 15673"/>
                <a:gd name="connsiteX4" fmla="*/ 7837 w 23191"/>
                <a:gd name="connsiteY4" fmla="*/ 2091 h 15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91" h="15673">
                  <a:moveTo>
                    <a:pt x="7837" y="2091"/>
                  </a:moveTo>
                  <a:cubicBezTo>
                    <a:pt x="5155" y="3859"/>
                    <a:pt x="2552" y="5784"/>
                    <a:pt x="-51" y="7787"/>
                  </a:cubicBezTo>
                  <a:lnTo>
                    <a:pt x="-51" y="15644"/>
                  </a:lnTo>
                  <a:cubicBezTo>
                    <a:pt x="7287" y="9865"/>
                    <a:pt x="15038" y="4627"/>
                    <a:pt x="23140" y="-30"/>
                  </a:cubicBezTo>
                  <a:cubicBezTo>
                    <a:pt x="17994" y="307"/>
                    <a:pt x="12880" y="1016"/>
                    <a:pt x="7837" y="2091"/>
                  </a:cubicBezTo>
                  <a:close/>
                </a:path>
              </a:pathLst>
            </a:custGeom>
            <a:solidFill>
              <a:schemeClr val="bg1"/>
            </a:solidFill>
            <a:ln w="4196"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F3C487F1-3C18-EC6D-3468-2B201D4CCA76}"/>
                </a:ext>
              </a:extLst>
            </p:cNvPr>
            <p:cNvSpPr/>
            <p:nvPr/>
          </p:nvSpPr>
          <p:spPr>
            <a:xfrm>
              <a:off x="104267" y="6461511"/>
              <a:ext cx="81863" cy="137725"/>
            </a:xfrm>
            <a:custGeom>
              <a:avLst/>
              <a:gdLst>
                <a:gd name="connsiteX0" fmla="*/ 38838 w 81863"/>
                <a:gd name="connsiteY0" fmla="*/ 137696 h 137725"/>
                <a:gd name="connsiteX1" fmla="*/ 55443 w 81863"/>
                <a:gd name="connsiteY1" fmla="*/ 117740 h 137725"/>
                <a:gd name="connsiteX2" fmla="*/ 9296 w 81863"/>
                <a:gd name="connsiteY2" fmla="*/ 96095 h 137725"/>
                <a:gd name="connsiteX3" fmla="*/ 16396 w 81863"/>
                <a:gd name="connsiteY3" fmla="*/ 82346 h 137725"/>
                <a:gd name="connsiteX4" fmla="*/ 69050 w 81863"/>
                <a:gd name="connsiteY4" fmla="*/ 95938 h 137725"/>
                <a:gd name="connsiteX5" fmla="*/ 76938 w 81863"/>
                <a:gd name="connsiteY5" fmla="*/ 76886 h 137725"/>
                <a:gd name="connsiteX6" fmla="*/ 20103 w 81863"/>
                <a:gd name="connsiteY6" fmla="*/ 70915 h 137725"/>
                <a:gd name="connsiteX7" fmla="*/ 21760 w 81863"/>
                <a:gd name="connsiteY7" fmla="*/ 59562 h 137725"/>
                <a:gd name="connsiteX8" fmla="*/ 81198 w 81863"/>
                <a:gd name="connsiteY8" fmla="*/ 58187 h 137725"/>
                <a:gd name="connsiteX9" fmla="*/ 81592 w 81863"/>
                <a:gd name="connsiteY9" fmla="*/ 43063 h 137725"/>
                <a:gd name="connsiteX10" fmla="*/ 21405 w 81863"/>
                <a:gd name="connsiteY10" fmla="*/ 50920 h 137725"/>
                <a:gd name="connsiteX11" fmla="*/ 19551 w 81863"/>
                <a:gd name="connsiteY11" fmla="*/ 43063 h 137725"/>
                <a:gd name="connsiteX12" fmla="*/ 78713 w 81863"/>
                <a:gd name="connsiteY12" fmla="*/ 29511 h 137725"/>
                <a:gd name="connsiteX13" fmla="*/ 73112 w 81863"/>
                <a:gd name="connsiteY13" fmla="*/ 19101 h 137725"/>
                <a:gd name="connsiteX14" fmla="*/ 17264 w 81863"/>
                <a:gd name="connsiteY14" fmla="*/ 36542 h 137725"/>
                <a:gd name="connsiteX15" fmla="*/ 16830 w 81863"/>
                <a:gd name="connsiteY15" fmla="*/ 36542 h 137725"/>
                <a:gd name="connsiteX16" fmla="*/ 12886 w 81863"/>
                <a:gd name="connsiteY16" fmla="*/ 31161 h 137725"/>
                <a:gd name="connsiteX17" fmla="*/ 64790 w 81863"/>
                <a:gd name="connsiteY17" fmla="*/ 10537 h 137725"/>
                <a:gd name="connsiteX18" fmla="*/ 55561 w 81863"/>
                <a:gd name="connsiteY18" fmla="*/ 5038 h 137725"/>
                <a:gd name="connsiteX19" fmla="*/ 8902 w 81863"/>
                <a:gd name="connsiteY19" fmla="*/ 27232 h 137725"/>
                <a:gd name="connsiteX20" fmla="*/ 4169 w 81863"/>
                <a:gd name="connsiteY20" fmla="*/ 23893 h 137725"/>
                <a:gd name="connsiteX21" fmla="*/ 44912 w 81863"/>
                <a:gd name="connsiteY21" fmla="*/ 1502 h 137725"/>
                <a:gd name="connsiteX22" fmla="*/ 34381 w 81863"/>
                <a:gd name="connsiteY22" fmla="*/ -30 h 137725"/>
                <a:gd name="connsiteX23" fmla="*/ -51 w 81863"/>
                <a:gd name="connsiteY23" fmla="*/ 21615 h 137725"/>
                <a:gd name="connsiteX24" fmla="*/ -51 w 81863"/>
                <a:gd name="connsiteY24" fmla="*/ 21615 h 137725"/>
                <a:gd name="connsiteX25" fmla="*/ -51 w 81863"/>
                <a:gd name="connsiteY25" fmla="*/ 30611 h 137725"/>
                <a:gd name="connsiteX26" fmla="*/ 3893 w 81863"/>
                <a:gd name="connsiteY26" fmla="*/ 33478 h 137725"/>
                <a:gd name="connsiteX27" fmla="*/ -51 w 81863"/>
                <a:gd name="connsiteY27" fmla="*/ 92049 h 137725"/>
                <a:gd name="connsiteX28" fmla="*/ -51 w 81863"/>
                <a:gd name="connsiteY28" fmla="*/ 110237 h 137725"/>
                <a:gd name="connsiteX29" fmla="*/ 29885 w 81863"/>
                <a:gd name="connsiteY29" fmla="*/ 131057 h 137725"/>
                <a:gd name="connsiteX30" fmla="*/ 38838 w 81863"/>
                <a:gd name="connsiteY30" fmla="*/ 137696 h 13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1863" h="137725">
                  <a:moveTo>
                    <a:pt x="38838" y="137696"/>
                  </a:moveTo>
                  <a:cubicBezTo>
                    <a:pt x="44809" y="131416"/>
                    <a:pt x="50356" y="124749"/>
                    <a:pt x="55443" y="117740"/>
                  </a:cubicBezTo>
                  <a:cubicBezTo>
                    <a:pt x="42782" y="110630"/>
                    <a:pt x="9296" y="96095"/>
                    <a:pt x="9296" y="96095"/>
                  </a:cubicBezTo>
                  <a:cubicBezTo>
                    <a:pt x="12065" y="91729"/>
                    <a:pt x="14440" y="87128"/>
                    <a:pt x="16396" y="82346"/>
                  </a:cubicBezTo>
                  <a:cubicBezTo>
                    <a:pt x="23614" y="83996"/>
                    <a:pt x="50986" y="90556"/>
                    <a:pt x="69050" y="95938"/>
                  </a:cubicBezTo>
                  <a:cubicBezTo>
                    <a:pt x="72171" y="89800"/>
                    <a:pt x="74809" y="83431"/>
                    <a:pt x="76938" y="76886"/>
                  </a:cubicBezTo>
                  <a:cubicBezTo>
                    <a:pt x="58145" y="73656"/>
                    <a:pt x="39159" y="71661"/>
                    <a:pt x="20103" y="70915"/>
                  </a:cubicBezTo>
                  <a:cubicBezTo>
                    <a:pt x="21049" y="67198"/>
                    <a:pt x="21604" y="63393"/>
                    <a:pt x="21760" y="59562"/>
                  </a:cubicBezTo>
                  <a:cubicBezTo>
                    <a:pt x="23337" y="59562"/>
                    <a:pt x="64080" y="57284"/>
                    <a:pt x="81198" y="58187"/>
                  </a:cubicBezTo>
                  <a:cubicBezTo>
                    <a:pt x="81853" y="53173"/>
                    <a:pt x="81985" y="48104"/>
                    <a:pt x="81592" y="43063"/>
                  </a:cubicBezTo>
                  <a:cubicBezTo>
                    <a:pt x="61345" y="44008"/>
                    <a:pt x="41213" y="46636"/>
                    <a:pt x="21405" y="50920"/>
                  </a:cubicBezTo>
                  <a:cubicBezTo>
                    <a:pt x="21021" y="48252"/>
                    <a:pt x="20401" y="45623"/>
                    <a:pt x="19551" y="43063"/>
                  </a:cubicBezTo>
                  <a:cubicBezTo>
                    <a:pt x="38830" y="36810"/>
                    <a:pt x="58628" y="32275"/>
                    <a:pt x="78713" y="29511"/>
                  </a:cubicBezTo>
                  <a:cubicBezTo>
                    <a:pt x="77345" y="25797"/>
                    <a:pt x="75459" y="22293"/>
                    <a:pt x="73112" y="19101"/>
                  </a:cubicBezTo>
                  <a:cubicBezTo>
                    <a:pt x="54017" y="23268"/>
                    <a:pt x="35328" y="29104"/>
                    <a:pt x="17264" y="36542"/>
                  </a:cubicBezTo>
                  <a:lnTo>
                    <a:pt x="16830" y="36542"/>
                  </a:lnTo>
                  <a:cubicBezTo>
                    <a:pt x="15691" y="34627"/>
                    <a:pt x="14370" y="32825"/>
                    <a:pt x="12886" y="31161"/>
                  </a:cubicBezTo>
                  <a:cubicBezTo>
                    <a:pt x="29536" y="22760"/>
                    <a:pt x="46906" y="15858"/>
                    <a:pt x="64790" y="10537"/>
                  </a:cubicBezTo>
                  <a:cubicBezTo>
                    <a:pt x="61936" y="8357"/>
                    <a:pt x="58839" y="6512"/>
                    <a:pt x="55561" y="5038"/>
                  </a:cubicBezTo>
                  <a:cubicBezTo>
                    <a:pt x="39289" y="10833"/>
                    <a:pt x="23655" y="18270"/>
                    <a:pt x="8902" y="27232"/>
                  </a:cubicBezTo>
                  <a:cubicBezTo>
                    <a:pt x="7406" y="26008"/>
                    <a:pt x="5825" y="24892"/>
                    <a:pt x="4169" y="23893"/>
                  </a:cubicBezTo>
                  <a:cubicBezTo>
                    <a:pt x="16955" y="15077"/>
                    <a:pt x="30606" y="7575"/>
                    <a:pt x="44912" y="1502"/>
                  </a:cubicBezTo>
                  <a:cubicBezTo>
                    <a:pt x="41443" y="739"/>
                    <a:pt x="37924" y="227"/>
                    <a:pt x="34381" y="-30"/>
                  </a:cubicBezTo>
                  <a:cubicBezTo>
                    <a:pt x="22170" y="5956"/>
                    <a:pt x="10628" y="13211"/>
                    <a:pt x="-51" y="21615"/>
                  </a:cubicBezTo>
                  <a:lnTo>
                    <a:pt x="-51" y="21615"/>
                  </a:lnTo>
                  <a:lnTo>
                    <a:pt x="-51" y="30611"/>
                  </a:lnTo>
                  <a:cubicBezTo>
                    <a:pt x="1354" y="31437"/>
                    <a:pt x="2675" y="32398"/>
                    <a:pt x="3893" y="33478"/>
                  </a:cubicBezTo>
                  <a:cubicBezTo>
                    <a:pt x="17303" y="45577"/>
                    <a:pt x="15134" y="70404"/>
                    <a:pt x="-51" y="92049"/>
                  </a:cubicBezTo>
                  <a:lnTo>
                    <a:pt x="-51" y="110237"/>
                  </a:lnTo>
                  <a:lnTo>
                    <a:pt x="29885" y="131057"/>
                  </a:lnTo>
                  <a:cubicBezTo>
                    <a:pt x="32777" y="133099"/>
                    <a:pt x="35761" y="135312"/>
                    <a:pt x="38838" y="137696"/>
                  </a:cubicBezTo>
                  <a:close/>
                </a:path>
              </a:pathLst>
            </a:custGeom>
            <a:solidFill>
              <a:schemeClr val="bg1"/>
            </a:solidFill>
            <a:ln w="4196" cap="flat">
              <a:noFill/>
              <a:prstDash val="solid"/>
              <a:miter/>
            </a:ln>
          </p:spPr>
          <p:txBody>
            <a:bodyPr rtlCol="0" anchor="ctr"/>
            <a:lstStyle/>
            <a:p>
              <a:endParaRPr lang="en-GB"/>
            </a:p>
          </p:txBody>
        </p:sp>
      </p:grpSp>
    </p:spTree>
    <p:extLst>
      <p:ext uri="{BB962C8B-B14F-4D97-AF65-F5344CB8AC3E}">
        <p14:creationId xmlns:p14="http://schemas.microsoft.com/office/powerpoint/2010/main" val="398489789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DC16C1-5162-4D27-8CEF-4745DECD760E}"/>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A0F0ACB8-25A9-4EB4-96FC-5DBBB47F5409}"/>
              </a:ext>
            </a:extLst>
          </p:cNvPr>
          <p:cNvSpPr>
            <a:spLocks noGrp="1"/>
          </p:cNvSpPr>
          <p:nvPr>
            <p:ph type="body" sz="quarter" idx="11"/>
          </p:nvPr>
        </p:nvSpPr>
        <p:spPr>
          <a:xfrm>
            <a:off x="426720" y="1219200"/>
            <a:ext cx="11338560" cy="46329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30561898-0646-4C79-A794-6FCA3C87512E}"/>
              </a:ext>
            </a:extLst>
          </p:cNvPr>
          <p:cNvSpPr>
            <a:spLocks noGrp="1"/>
          </p:cNvSpPr>
          <p:nvPr>
            <p:ph type="body" sz="quarter" idx="14" hasCustomPrompt="1"/>
          </p:nvPr>
        </p:nvSpPr>
        <p:spPr>
          <a:xfrm>
            <a:off x="426721" y="6096000"/>
            <a:ext cx="11338983" cy="365760"/>
          </a:xfrm>
        </p:spPr>
        <p:txBody>
          <a:bodyPr anchor="b" anchorCtr="0"/>
          <a:lstStyle>
            <a:lvl1pPr marL="0" indent="0">
              <a:spcBef>
                <a:spcPts val="0"/>
              </a:spcBef>
              <a:buNone/>
              <a:defRPr sz="1200" baseline="0"/>
            </a:lvl1pPr>
            <a:lvl2pPr marL="304792" indent="0">
              <a:buNone/>
              <a:defRPr sz="1200"/>
            </a:lvl2pPr>
            <a:lvl3pPr marL="609585" indent="0">
              <a:buNone/>
              <a:defRPr sz="1200"/>
            </a:lvl3pPr>
            <a:lvl4pPr marL="914377" indent="0">
              <a:buNone/>
              <a:defRPr sz="1200"/>
            </a:lvl4pPr>
            <a:lvl5pPr marL="1219170" indent="0">
              <a:buNone/>
              <a:defRPr sz="1200"/>
            </a:lvl5pPr>
          </a:lstStyle>
          <a:p>
            <a:pPr lvl="0"/>
            <a:r>
              <a:rPr lang="en-US"/>
              <a:t>Insert footnote here</a:t>
            </a:r>
          </a:p>
        </p:txBody>
      </p:sp>
      <p:sp>
        <p:nvSpPr>
          <p:cNvPr id="8" name="Footer Placeholder 7">
            <a:extLst>
              <a:ext uri="{FF2B5EF4-FFF2-40B4-BE49-F238E27FC236}">
                <a16:creationId xmlns:a16="http://schemas.microsoft.com/office/drawing/2014/main" id="{0773248B-ACA3-4BB4-A32C-1E0A085C6BF2}"/>
              </a:ext>
            </a:extLst>
          </p:cNvPr>
          <p:cNvSpPr>
            <a:spLocks noGrp="1"/>
          </p:cNvSpPr>
          <p:nvPr>
            <p:ph type="ftr" sz="quarter" idx="15"/>
          </p:nvPr>
        </p:nvSpPr>
        <p:spPr/>
        <p:txBody>
          <a:bodyPr/>
          <a:lstStyle/>
          <a:p>
            <a:r>
              <a:rPr lang="en-US"/>
              <a:t>CONFIDENTIAL – BOARD ONLY – DRAFT</a:t>
            </a:r>
          </a:p>
        </p:txBody>
      </p:sp>
    </p:spTree>
    <p:extLst>
      <p:ext uri="{BB962C8B-B14F-4D97-AF65-F5344CB8AC3E}">
        <p14:creationId xmlns:p14="http://schemas.microsoft.com/office/powerpoint/2010/main" val="372761633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Toner Friend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704BDA-063A-DACF-B2E0-6517042B1F33}"/>
              </a:ext>
            </a:extLst>
          </p:cNvPr>
          <p:cNvSpPr/>
          <p:nvPr userDrawn="1"/>
        </p:nvSpPr>
        <p:spPr>
          <a:xfrm>
            <a:off x="11939592" y="-2"/>
            <a:ext cx="252408"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883A43CF-4BFB-95C7-9655-4C950D08D748}"/>
              </a:ext>
            </a:extLst>
          </p:cNvPr>
          <p:cNvSpPr/>
          <p:nvPr userDrawn="1"/>
        </p:nvSpPr>
        <p:spPr>
          <a:xfrm>
            <a:off x="10664826" y="-1"/>
            <a:ext cx="759345" cy="68638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26F72DE-E919-EA01-A48C-CA490B9E5338}"/>
              </a:ext>
            </a:extLst>
          </p:cNvPr>
          <p:cNvSpPr/>
          <p:nvPr userDrawn="1"/>
        </p:nvSpPr>
        <p:spPr>
          <a:xfrm>
            <a:off x="11426292" y="-2"/>
            <a:ext cx="5133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 name="Slide Number Placeholder 5">
            <a:extLst>
              <a:ext uri="{FF2B5EF4-FFF2-40B4-BE49-F238E27FC236}">
                <a16:creationId xmlns:a16="http://schemas.microsoft.com/office/drawing/2014/main" id="{FDE9173D-55AC-87D8-D3AC-0375662898BB}"/>
              </a:ext>
            </a:extLst>
          </p:cNvPr>
          <p:cNvSpPr>
            <a:spLocks noGrp="1"/>
          </p:cNvSpPr>
          <p:nvPr userDrawn="1">
            <p:ph type="sldNum" sz="quarter" idx="12"/>
          </p:nvPr>
        </p:nvSpPr>
        <p:spPr>
          <a:xfrm>
            <a:off x="11379000" y="6473323"/>
            <a:ext cx="432000" cy="184666"/>
          </a:xfrm>
        </p:spPr>
        <p:txBody>
          <a:bodyPr/>
          <a:lstStyle>
            <a:lvl1pPr>
              <a:defRPr>
                <a:solidFill>
                  <a:schemeClr val="bg1"/>
                </a:solidFill>
              </a:defRPr>
            </a:lvl1pPr>
          </a:lstStyle>
          <a:p>
            <a:fld id="{24FD2396-7F2C-D741-B592-F93892A44B62}" type="slidenum">
              <a:rPr lang="en-GB" smtClean="0"/>
              <a:pPr/>
              <a:t>‹#›</a:t>
            </a:fld>
            <a:endParaRPr lang="en-GB"/>
          </a:p>
        </p:txBody>
      </p:sp>
      <p:sp>
        <p:nvSpPr>
          <p:cNvPr id="8" name="Text Placeholder 2">
            <a:extLst>
              <a:ext uri="{FF2B5EF4-FFF2-40B4-BE49-F238E27FC236}">
                <a16:creationId xmlns:a16="http://schemas.microsoft.com/office/drawing/2014/main" id="{628698C7-0366-4DCE-8F92-D38043A3608B}"/>
              </a:ext>
            </a:extLst>
          </p:cNvPr>
          <p:cNvSpPr>
            <a:spLocks noGrp="1"/>
          </p:cNvSpPr>
          <p:nvPr userDrawn="1">
            <p:ph type="body" idx="1"/>
          </p:nvPr>
        </p:nvSpPr>
        <p:spPr>
          <a:xfrm>
            <a:off x="377826" y="3048001"/>
            <a:ext cx="4194174" cy="1139824"/>
          </a:xfrm>
        </p:spPr>
        <p:txBody>
          <a:bodyPr>
            <a:normAutofit/>
          </a:bodyPr>
          <a:lstStyle>
            <a:lvl1pPr marL="0" indent="0">
              <a:buNone/>
              <a:defRPr sz="16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Title 1">
            <a:extLst>
              <a:ext uri="{FF2B5EF4-FFF2-40B4-BE49-F238E27FC236}">
                <a16:creationId xmlns:a16="http://schemas.microsoft.com/office/drawing/2014/main" id="{4F056ED1-AB1E-8731-B4A8-24F2489F02A5}"/>
              </a:ext>
            </a:extLst>
          </p:cNvPr>
          <p:cNvSpPr>
            <a:spLocks noGrp="1"/>
          </p:cNvSpPr>
          <p:nvPr userDrawn="1">
            <p:ph type="ctrTitle"/>
          </p:nvPr>
        </p:nvSpPr>
        <p:spPr>
          <a:xfrm>
            <a:off x="304603" y="2018563"/>
            <a:ext cx="10107815" cy="609398"/>
          </a:xfrm>
        </p:spPr>
        <p:txBody>
          <a:bodyPr wrap="square" anchor="t">
            <a:spAutoFit/>
          </a:bodyPr>
          <a:lstStyle>
            <a:lvl1pPr algn="l">
              <a:defRPr sz="4400" b="0">
                <a:solidFill>
                  <a:schemeClr val="tx1"/>
                </a:solidFill>
              </a:defRPr>
            </a:lvl1pPr>
          </a:lstStyle>
          <a:p>
            <a:r>
              <a:rPr lang="en-US"/>
              <a:t>Click to edit Master title style</a:t>
            </a:r>
            <a:endParaRPr lang="en-GB"/>
          </a:p>
        </p:txBody>
      </p:sp>
      <p:sp>
        <p:nvSpPr>
          <p:cNvPr id="6" name="Freeform 19">
            <a:extLst>
              <a:ext uri="{FF2B5EF4-FFF2-40B4-BE49-F238E27FC236}">
                <a16:creationId xmlns:a16="http://schemas.microsoft.com/office/drawing/2014/main" id="{051807F2-C53D-432B-6EE4-FCC1CDAF0784}"/>
              </a:ext>
            </a:extLst>
          </p:cNvPr>
          <p:cNvSpPr/>
          <p:nvPr userDrawn="1"/>
        </p:nvSpPr>
        <p:spPr>
          <a:xfrm flipH="1">
            <a:off x="403467" y="397247"/>
            <a:ext cx="1615630" cy="204538"/>
          </a:xfrm>
          <a:custGeom>
            <a:avLst/>
            <a:gdLst>
              <a:gd name="connsiteX0" fmla="*/ 507203 w 4793759"/>
              <a:gd name="connsiteY0" fmla="*/ 159935 h 606895"/>
              <a:gd name="connsiteX1" fmla="*/ 507203 w 4793759"/>
              <a:gd name="connsiteY1" fmla="*/ 434643 h 606895"/>
              <a:gd name="connsiteX2" fmla="*/ 350553 w 4793759"/>
              <a:gd name="connsiteY2" fmla="*/ 434643 h 606895"/>
              <a:gd name="connsiteX3" fmla="*/ 184217 w 4793759"/>
              <a:gd name="connsiteY3" fmla="*/ 297289 h 606895"/>
              <a:gd name="connsiteX4" fmla="*/ 350553 w 4793759"/>
              <a:gd name="connsiteY4" fmla="*/ 159935 h 606895"/>
              <a:gd name="connsiteX5" fmla="*/ 3836721 w 4793759"/>
              <a:gd name="connsiteY5" fmla="*/ 187 h 606895"/>
              <a:gd name="connsiteX6" fmla="*/ 3663120 w 4793759"/>
              <a:gd name="connsiteY6" fmla="*/ 187 h 606895"/>
              <a:gd name="connsiteX7" fmla="*/ 3335291 w 4793759"/>
              <a:gd name="connsiteY7" fmla="*/ 346184 h 606895"/>
              <a:gd name="connsiteX8" fmla="*/ 3335105 w 4793759"/>
              <a:gd name="connsiteY8" fmla="*/ 346184 h 606895"/>
              <a:gd name="connsiteX9" fmla="*/ 3335105 w 4793759"/>
              <a:gd name="connsiteY9" fmla="*/ 187 h 606895"/>
              <a:gd name="connsiteX10" fmla="*/ 3171190 w 4793759"/>
              <a:gd name="connsiteY10" fmla="*/ 187 h 606895"/>
              <a:gd name="connsiteX11" fmla="*/ 3171190 w 4793759"/>
              <a:gd name="connsiteY11" fmla="*/ 594952 h 606895"/>
              <a:gd name="connsiteX12" fmla="*/ 3314988 w 4793759"/>
              <a:gd name="connsiteY12" fmla="*/ 594952 h 606895"/>
              <a:gd name="connsiteX13" fmla="*/ 3672806 w 4793759"/>
              <a:gd name="connsiteY13" fmla="*/ 217975 h 606895"/>
              <a:gd name="connsiteX14" fmla="*/ 3672806 w 4793759"/>
              <a:gd name="connsiteY14" fmla="*/ 594952 h 606895"/>
              <a:gd name="connsiteX15" fmla="*/ 3836721 w 4793759"/>
              <a:gd name="connsiteY15" fmla="*/ 594952 h 606895"/>
              <a:gd name="connsiteX16" fmla="*/ 683226 w 4793759"/>
              <a:gd name="connsiteY16" fmla="*/ 0 h 606895"/>
              <a:gd name="connsiteX17" fmla="*/ 344034 w 4793759"/>
              <a:gd name="connsiteY17" fmla="*/ 0 h 606895"/>
              <a:gd name="connsiteX18" fmla="*/ 0 w 4793759"/>
              <a:gd name="connsiteY18" fmla="*/ 297289 h 606895"/>
              <a:gd name="connsiteX19" fmla="*/ 344034 w 4793759"/>
              <a:gd name="connsiteY19" fmla="*/ 594578 h 606895"/>
              <a:gd name="connsiteX20" fmla="*/ 683226 w 4793759"/>
              <a:gd name="connsiteY20" fmla="*/ 594578 h 606895"/>
              <a:gd name="connsiteX21" fmla="*/ 1533533 w 4793759"/>
              <a:gd name="connsiteY21" fmla="*/ 0 h 606895"/>
              <a:gd name="connsiteX22" fmla="*/ 963371 w 4793759"/>
              <a:gd name="connsiteY22" fmla="*/ 0 h 606895"/>
              <a:gd name="connsiteX23" fmla="*/ 963371 w 4793759"/>
              <a:gd name="connsiteY23" fmla="*/ 145565 h 606895"/>
              <a:gd name="connsiteX24" fmla="*/ 1357511 w 4793759"/>
              <a:gd name="connsiteY24" fmla="*/ 145565 h 606895"/>
              <a:gd name="connsiteX25" fmla="*/ 1357511 w 4793759"/>
              <a:gd name="connsiteY25" fmla="*/ 234211 h 606895"/>
              <a:gd name="connsiteX26" fmla="*/ 991683 w 4793759"/>
              <a:gd name="connsiteY26" fmla="*/ 234211 h 606895"/>
              <a:gd name="connsiteX27" fmla="*/ 991683 w 4793759"/>
              <a:gd name="connsiteY27" fmla="*/ 360367 h 606895"/>
              <a:gd name="connsiteX28" fmla="*/ 1357511 w 4793759"/>
              <a:gd name="connsiteY28" fmla="*/ 360367 h 606895"/>
              <a:gd name="connsiteX29" fmla="*/ 1357511 w 4793759"/>
              <a:gd name="connsiteY29" fmla="*/ 360554 h 606895"/>
              <a:gd name="connsiteX30" fmla="*/ 1357511 w 4793759"/>
              <a:gd name="connsiteY30" fmla="*/ 449200 h 606895"/>
              <a:gd name="connsiteX31" fmla="*/ 960204 w 4793759"/>
              <a:gd name="connsiteY31" fmla="*/ 449200 h 606895"/>
              <a:gd name="connsiteX32" fmla="*/ 960204 w 4793759"/>
              <a:gd name="connsiteY32" fmla="*/ 594765 h 606895"/>
              <a:gd name="connsiteX33" fmla="*/ 1533533 w 4793759"/>
              <a:gd name="connsiteY33" fmla="*/ 594765 h 606895"/>
              <a:gd name="connsiteX34" fmla="*/ 2427613 w 4793759"/>
              <a:gd name="connsiteY34" fmla="*/ 0 h 606895"/>
              <a:gd name="connsiteX35" fmla="*/ 1794493 w 4793759"/>
              <a:gd name="connsiteY35" fmla="*/ 0 h 606895"/>
              <a:gd name="connsiteX36" fmla="*/ 1794493 w 4793759"/>
              <a:gd name="connsiteY36" fmla="*/ 159935 h 606895"/>
              <a:gd name="connsiteX37" fmla="*/ 2023042 w 4793759"/>
              <a:gd name="connsiteY37" fmla="*/ 159935 h 606895"/>
              <a:gd name="connsiteX38" fmla="*/ 2023042 w 4793759"/>
              <a:gd name="connsiteY38" fmla="*/ 594578 h 606895"/>
              <a:gd name="connsiteX39" fmla="*/ 2199064 w 4793759"/>
              <a:gd name="connsiteY39" fmla="*/ 594578 h 606895"/>
              <a:gd name="connsiteX40" fmla="*/ 2199064 w 4793759"/>
              <a:gd name="connsiteY40" fmla="*/ 159935 h 606895"/>
              <a:gd name="connsiteX41" fmla="*/ 2427613 w 4793759"/>
              <a:gd name="connsiteY41" fmla="*/ 159935 h 606895"/>
              <a:gd name="connsiteX42" fmla="*/ 2864409 w 4793759"/>
              <a:gd name="connsiteY42" fmla="*/ 0 h 606895"/>
              <a:gd name="connsiteX43" fmla="*/ 2688387 w 4793759"/>
              <a:gd name="connsiteY43" fmla="*/ 0 h 606895"/>
              <a:gd name="connsiteX44" fmla="*/ 2688387 w 4793759"/>
              <a:gd name="connsiteY44" fmla="*/ 594765 h 606895"/>
              <a:gd name="connsiteX45" fmla="*/ 2864409 w 4793759"/>
              <a:gd name="connsiteY45" fmla="*/ 594765 h 606895"/>
              <a:gd name="connsiteX46" fmla="*/ 4793759 w 4793759"/>
              <a:gd name="connsiteY46" fmla="*/ 0 h 606895"/>
              <a:gd name="connsiteX47" fmla="*/ 4617737 w 4793759"/>
              <a:gd name="connsiteY47" fmla="*/ 0 h 606895"/>
              <a:gd name="connsiteX48" fmla="*/ 4617737 w 4793759"/>
              <a:gd name="connsiteY48" fmla="*/ 294490 h 606895"/>
              <a:gd name="connsiteX49" fmla="*/ 4460714 w 4793759"/>
              <a:gd name="connsiteY49" fmla="*/ 455545 h 606895"/>
              <a:gd name="connsiteX50" fmla="*/ 4303691 w 4793759"/>
              <a:gd name="connsiteY50" fmla="*/ 294490 h 606895"/>
              <a:gd name="connsiteX51" fmla="*/ 4303691 w 4793759"/>
              <a:gd name="connsiteY51" fmla="*/ 0 h 606895"/>
              <a:gd name="connsiteX52" fmla="*/ 4127669 w 4793759"/>
              <a:gd name="connsiteY52" fmla="*/ 0 h 606895"/>
              <a:gd name="connsiteX53" fmla="*/ 4127669 w 4793759"/>
              <a:gd name="connsiteY53" fmla="*/ 303448 h 606895"/>
              <a:gd name="connsiteX54" fmla="*/ 4460714 w 4793759"/>
              <a:gd name="connsiteY54" fmla="*/ 606895 h 606895"/>
              <a:gd name="connsiteX55" fmla="*/ 4793759 w 4793759"/>
              <a:gd name="connsiteY55" fmla="*/ 303448 h 60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793759" h="606895">
                <a:moveTo>
                  <a:pt x="507203" y="159935"/>
                </a:moveTo>
                <a:lnTo>
                  <a:pt x="507203" y="434643"/>
                </a:lnTo>
                <a:lnTo>
                  <a:pt x="350553" y="434643"/>
                </a:lnTo>
                <a:cubicBezTo>
                  <a:pt x="235813" y="434643"/>
                  <a:pt x="184217" y="392653"/>
                  <a:pt x="184217" y="297289"/>
                </a:cubicBezTo>
                <a:cubicBezTo>
                  <a:pt x="184217" y="201925"/>
                  <a:pt x="235813" y="159935"/>
                  <a:pt x="350553" y="159935"/>
                </a:cubicBezTo>
                <a:close/>
                <a:moveTo>
                  <a:pt x="3836721" y="187"/>
                </a:moveTo>
                <a:lnTo>
                  <a:pt x="3663120" y="187"/>
                </a:lnTo>
                <a:lnTo>
                  <a:pt x="3335291" y="346184"/>
                </a:lnTo>
                <a:lnTo>
                  <a:pt x="3335105" y="346184"/>
                </a:lnTo>
                <a:lnTo>
                  <a:pt x="3335105" y="187"/>
                </a:lnTo>
                <a:lnTo>
                  <a:pt x="3171190" y="187"/>
                </a:lnTo>
                <a:lnTo>
                  <a:pt x="3171190" y="594952"/>
                </a:lnTo>
                <a:lnTo>
                  <a:pt x="3314988" y="594952"/>
                </a:lnTo>
                <a:lnTo>
                  <a:pt x="3672806" y="217975"/>
                </a:lnTo>
                <a:lnTo>
                  <a:pt x="3672806" y="594952"/>
                </a:lnTo>
                <a:lnTo>
                  <a:pt x="3836721" y="594952"/>
                </a:lnTo>
                <a:close/>
                <a:moveTo>
                  <a:pt x="683226" y="0"/>
                </a:moveTo>
                <a:lnTo>
                  <a:pt x="344034" y="0"/>
                </a:lnTo>
                <a:cubicBezTo>
                  <a:pt x="108220" y="0"/>
                  <a:pt x="0" y="102642"/>
                  <a:pt x="0" y="297289"/>
                </a:cubicBezTo>
                <a:cubicBezTo>
                  <a:pt x="0" y="491936"/>
                  <a:pt x="108220" y="594578"/>
                  <a:pt x="344034" y="594578"/>
                </a:cubicBezTo>
                <a:lnTo>
                  <a:pt x="683226" y="594578"/>
                </a:lnTo>
                <a:close/>
                <a:moveTo>
                  <a:pt x="1533533" y="0"/>
                </a:moveTo>
                <a:lnTo>
                  <a:pt x="963371" y="0"/>
                </a:lnTo>
                <a:lnTo>
                  <a:pt x="963371" y="145565"/>
                </a:lnTo>
                <a:lnTo>
                  <a:pt x="1357511" y="145565"/>
                </a:lnTo>
                <a:lnTo>
                  <a:pt x="1357511" y="234211"/>
                </a:lnTo>
                <a:lnTo>
                  <a:pt x="991683" y="234211"/>
                </a:lnTo>
                <a:lnTo>
                  <a:pt x="991683" y="360367"/>
                </a:lnTo>
                <a:lnTo>
                  <a:pt x="1357511" y="360367"/>
                </a:lnTo>
                <a:lnTo>
                  <a:pt x="1357511" y="360554"/>
                </a:lnTo>
                <a:lnTo>
                  <a:pt x="1357511" y="449200"/>
                </a:lnTo>
                <a:lnTo>
                  <a:pt x="960204" y="449200"/>
                </a:lnTo>
                <a:lnTo>
                  <a:pt x="960204" y="594765"/>
                </a:lnTo>
                <a:lnTo>
                  <a:pt x="1533533" y="594765"/>
                </a:lnTo>
                <a:close/>
                <a:moveTo>
                  <a:pt x="2427613" y="0"/>
                </a:moveTo>
                <a:lnTo>
                  <a:pt x="1794493" y="0"/>
                </a:lnTo>
                <a:lnTo>
                  <a:pt x="1794493" y="159935"/>
                </a:lnTo>
                <a:lnTo>
                  <a:pt x="2023042" y="159935"/>
                </a:lnTo>
                <a:lnTo>
                  <a:pt x="2023042" y="594578"/>
                </a:lnTo>
                <a:lnTo>
                  <a:pt x="2199064" y="594578"/>
                </a:lnTo>
                <a:lnTo>
                  <a:pt x="2199064" y="159935"/>
                </a:lnTo>
                <a:lnTo>
                  <a:pt x="2427613" y="159935"/>
                </a:lnTo>
                <a:close/>
                <a:moveTo>
                  <a:pt x="2864409" y="0"/>
                </a:moveTo>
                <a:lnTo>
                  <a:pt x="2688387" y="0"/>
                </a:lnTo>
                <a:lnTo>
                  <a:pt x="2688387" y="594765"/>
                </a:lnTo>
                <a:lnTo>
                  <a:pt x="2864409" y="594765"/>
                </a:lnTo>
                <a:close/>
                <a:moveTo>
                  <a:pt x="4793759" y="0"/>
                </a:moveTo>
                <a:lnTo>
                  <a:pt x="4617737" y="0"/>
                </a:lnTo>
                <a:lnTo>
                  <a:pt x="4617737" y="294490"/>
                </a:lnTo>
                <a:cubicBezTo>
                  <a:pt x="4617737" y="407770"/>
                  <a:pt x="4564092" y="455545"/>
                  <a:pt x="4460714" y="455545"/>
                </a:cubicBezTo>
                <a:cubicBezTo>
                  <a:pt x="4357336" y="455545"/>
                  <a:pt x="4303691" y="407770"/>
                  <a:pt x="4303691" y="294490"/>
                </a:cubicBezTo>
                <a:lnTo>
                  <a:pt x="4303691" y="0"/>
                </a:lnTo>
                <a:lnTo>
                  <a:pt x="4127669" y="0"/>
                </a:lnTo>
                <a:lnTo>
                  <a:pt x="4127669" y="303448"/>
                </a:lnTo>
                <a:cubicBezTo>
                  <a:pt x="4127669" y="515450"/>
                  <a:pt x="4234586" y="606895"/>
                  <a:pt x="4460714" y="606895"/>
                </a:cubicBezTo>
                <a:cubicBezTo>
                  <a:pt x="4686842" y="606895"/>
                  <a:pt x="4793759" y="515450"/>
                  <a:pt x="4793759" y="30344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nvGrpSpPr>
          <p:cNvPr id="10" name="Group 9">
            <a:extLst>
              <a:ext uri="{FF2B5EF4-FFF2-40B4-BE49-F238E27FC236}">
                <a16:creationId xmlns:a16="http://schemas.microsoft.com/office/drawing/2014/main" id="{225AE3F4-FBDB-07A8-676A-439E0DD81AE2}"/>
              </a:ext>
            </a:extLst>
          </p:cNvPr>
          <p:cNvGrpSpPr/>
          <p:nvPr userDrawn="1"/>
        </p:nvGrpSpPr>
        <p:grpSpPr>
          <a:xfrm>
            <a:off x="391160" y="5604603"/>
            <a:ext cx="861106" cy="867635"/>
            <a:chOff x="235053" y="5570710"/>
            <a:chExt cx="1070162" cy="1078276"/>
          </a:xfrm>
        </p:grpSpPr>
        <p:sp>
          <p:nvSpPr>
            <p:cNvPr id="11" name="Rectangle 10">
              <a:extLst>
                <a:ext uri="{FF2B5EF4-FFF2-40B4-BE49-F238E27FC236}">
                  <a16:creationId xmlns:a16="http://schemas.microsoft.com/office/drawing/2014/main" id="{ED938567-CC96-6CF0-0EB7-81C43694906E}"/>
                </a:ext>
              </a:extLst>
            </p:cNvPr>
            <p:cNvSpPr/>
            <p:nvPr userDrawn="1"/>
          </p:nvSpPr>
          <p:spPr>
            <a:xfrm>
              <a:off x="235053" y="5570710"/>
              <a:ext cx="1070162" cy="1078276"/>
            </a:xfrm>
            <a:prstGeom prst="rect">
              <a:avLst/>
            </a:prstGeom>
            <a:solidFill>
              <a:srgbClr val="1514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grpSp>
          <p:nvGrpSpPr>
            <p:cNvPr id="12" name="Group 11">
              <a:extLst>
                <a:ext uri="{FF2B5EF4-FFF2-40B4-BE49-F238E27FC236}">
                  <a16:creationId xmlns:a16="http://schemas.microsoft.com/office/drawing/2014/main" id="{811E2762-6453-92E0-ECCF-D2E2A3E2E865}"/>
                </a:ext>
              </a:extLst>
            </p:cNvPr>
            <p:cNvGrpSpPr/>
            <p:nvPr userDrawn="1"/>
          </p:nvGrpSpPr>
          <p:grpSpPr>
            <a:xfrm>
              <a:off x="236899" y="5784336"/>
              <a:ext cx="867102" cy="859405"/>
              <a:chOff x="-210" y="6000968"/>
              <a:chExt cx="867102" cy="859405"/>
            </a:xfrm>
            <a:solidFill>
              <a:schemeClr val="bg1"/>
            </a:solidFill>
          </p:grpSpPr>
          <p:sp>
            <p:nvSpPr>
              <p:cNvPr id="13" name="Freeform 14">
                <a:extLst>
                  <a:ext uri="{FF2B5EF4-FFF2-40B4-BE49-F238E27FC236}">
                    <a16:creationId xmlns:a16="http://schemas.microsoft.com/office/drawing/2014/main" id="{32AE6E05-9F4E-D237-E375-98D9D38E59AB}"/>
                  </a:ext>
                </a:extLst>
              </p:cNvPr>
              <p:cNvSpPr/>
              <p:nvPr userDrawn="1"/>
            </p:nvSpPr>
            <p:spPr>
              <a:xfrm>
                <a:off x="-3" y="6427626"/>
                <a:ext cx="45201" cy="85186"/>
              </a:xfrm>
              <a:custGeom>
                <a:avLst/>
                <a:gdLst>
                  <a:gd name="connsiteX0" fmla="*/ -51 w 37961"/>
                  <a:gd name="connsiteY0" fmla="*/ -30 h 71541"/>
                  <a:gd name="connsiteX1" fmla="*/ -51 w 37961"/>
                  <a:gd name="connsiteY1" fmla="*/ 71512 h 71541"/>
                  <a:gd name="connsiteX2" fmla="*/ 37910 w 37961"/>
                  <a:gd name="connsiteY2" fmla="*/ 44109 h 71541"/>
                </a:gdLst>
                <a:ahLst/>
                <a:cxnLst>
                  <a:cxn ang="0">
                    <a:pos x="connsiteX0" y="connsiteY0"/>
                  </a:cxn>
                  <a:cxn ang="0">
                    <a:pos x="connsiteX1" y="connsiteY1"/>
                  </a:cxn>
                  <a:cxn ang="0">
                    <a:pos x="connsiteX2" y="connsiteY2"/>
                  </a:cxn>
                </a:cxnLst>
                <a:rect l="l" t="t" r="r" b="b"/>
                <a:pathLst>
                  <a:path w="37961" h="71541">
                    <a:moveTo>
                      <a:pt x="-51" y="-30"/>
                    </a:moveTo>
                    <a:lnTo>
                      <a:pt x="-51" y="71512"/>
                    </a:lnTo>
                    <a:cubicBezTo>
                      <a:pt x="13073" y="63043"/>
                      <a:pt x="25744" y="53896"/>
                      <a:pt x="37910" y="44109"/>
                    </a:cubicBezTo>
                    <a:close/>
                  </a:path>
                </a:pathLst>
              </a:custGeom>
              <a:grpFill/>
              <a:ln w="10319" cap="flat">
                <a:noFill/>
                <a:prstDash val="solid"/>
                <a:miter/>
              </a:ln>
            </p:spPr>
            <p:txBody>
              <a:bodyPr rtlCol="0" anchor="ctr"/>
              <a:lstStyle/>
              <a:p>
                <a:endParaRPr lang="en-GB"/>
              </a:p>
            </p:txBody>
          </p:sp>
          <p:sp>
            <p:nvSpPr>
              <p:cNvPr id="14" name="Freeform 21">
                <a:extLst>
                  <a:ext uri="{FF2B5EF4-FFF2-40B4-BE49-F238E27FC236}">
                    <a16:creationId xmlns:a16="http://schemas.microsoft.com/office/drawing/2014/main" id="{4A1379F4-1A39-ADAC-FF6D-98FBD6710FB0}"/>
                  </a:ext>
                </a:extLst>
              </p:cNvPr>
              <p:cNvSpPr/>
              <p:nvPr userDrawn="1"/>
            </p:nvSpPr>
            <p:spPr>
              <a:xfrm>
                <a:off x="-3" y="6000968"/>
                <a:ext cx="866895" cy="859405"/>
              </a:xfrm>
              <a:custGeom>
                <a:avLst/>
                <a:gdLst>
                  <a:gd name="connsiteX0" fmla="*/ 184096 w 728037"/>
                  <a:gd name="connsiteY0" fmla="*/ -30 h 721747"/>
                  <a:gd name="connsiteX1" fmla="*/ 384 w 728037"/>
                  <a:gd name="connsiteY1" fmla="*/ 31969 h 721747"/>
                  <a:gd name="connsiteX2" fmla="*/ 384 w 728037"/>
                  <a:gd name="connsiteY2" fmla="*/ 31969 h 721747"/>
                  <a:gd name="connsiteX3" fmla="*/ 384 w 728037"/>
                  <a:gd name="connsiteY3" fmla="*/ 53908 h 721747"/>
                  <a:gd name="connsiteX4" fmla="*/ 18755 w 728037"/>
                  <a:gd name="connsiteY4" fmla="*/ 48532 h 721747"/>
                  <a:gd name="connsiteX5" fmla="*/ 32077 w 728037"/>
                  <a:gd name="connsiteY5" fmla="*/ 45930 h 721747"/>
                  <a:gd name="connsiteX6" fmla="*/ 36778 w 728037"/>
                  <a:gd name="connsiteY6" fmla="*/ 45237 h 721747"/>
                  <a:gd name="connsiteX7" fmla="*/ 174170 w 728037"/>
                  <a:gd name="connsiteY7" fmla="*/ 82872 h 721747"/>
                  <a:gd name="connsiteX8" fmla="*/ 174170 w 728037"/>
                  <a:gd name="connsiteY8" fmla="*/ 82872 h 721747"/>
                  <a:gd name="connsiteX9" fmla="*/ 52624 w 728037"/>
                  <a:gd name="connsiteY9" fmla="*/ 425752 h 721747"/>
                  <a:gd name="connsiteX10" fmla="*/ 994 w 728037"/>
                  <a:gd name="connsiteY10" fmla="*/ 465468 h 721747"/>
                  <a:gd name="connsiteX11" fmla="*/ -51 w 728037"/>
                  <a:gd name="connsiteY11" fmla="*/ 466162 h 721747"/>
                  <a:gd name="connsiteX12" fmla="*/ -51 w 728037"/>
                  <a:gd name="connsiteY12" fmla="*/ 502583 h 721747"/>
                  <a:gd name="connsiteX13" fmla="*/ 15447 w 728037"/>
                  <a:gd name="connsiteY13" fmla="*/ 491570 h 721747"/>
                  <a:gd name="connsiteX14" fmla="*/ 71344 w 728037"/>
                  <a:gd name="connsiteY14" fmla="*/ 581063 h 721747"/>
                  <a:gd name="connsiteX15" fmla="*/ 97464 w 728037"/>
                  <a:gd name="connsiteY15" fmla="*/ 563719 h 721747"/>
                  <a:gd name="connsiteX16" fmla="*/ 145003 w 728037"/>
                  <a:gd name="connsiteY16" fmla="*/ 528599 h 721747"/>
                  <a:gd name="connsiteX17" fmla="*/ 147092 w 728037"/>
                  <a:gd name="connsiteY17" fmla="*/ 526778 h 721747"/>
                  <a:gd name="connsiteX18" fmla="*/ 73956 w 728037"/>
                  <a:gd name="connsiteY18" fmla="*/ 443095 h 721747"/>
                  <a:gd name="connsiteX19" fmla="*/ 126196 w 728037"/>
                  <a:gd name="connsiteY19" fmla="*/ 388030 h 721747"/>
                  <a:gd name="connsiteX20" fmla="*/ 216049 w 728037"/>
                  <a:gd name="connsiteY20" fmla="*/ 460352 h 721747"/>
                  <a:gd name="connsiteX21" fmla="*/ 268289 w 728037"/>
                  <a:gd name="connsiteY21" fmla="*/ 395661 h 721747"/>
                  <a:gd name="connsiteX22" fmla="*/ 165028 w 728037"/>
                  <a:gd name="connsiteY22" fmla="*/ 334092 h 721747"/>
                  <a:gd name="connsiteX23" fmla="*/ 194718 w 728037"/>
                  <a:gd name="connsiteY23" fmla="*/ 279373 h 721747"/>
                  <a:gd name="connsiteX24" fmla="*/ 309211 w 728037"/>
                  <a:gd name="connsiteY24" fmla="*/ 327328 h 721747"/>
                  <a:gd name="connsiteX25" fmla="*/ 331239 w 728037"/>
                  <a:gd name="connsiteY25" fmla="*/ 274430 h 721747"/>
                  <a:gd name="connsiteX26" fmla="*/ 333764 w 728037"/>
                  <a:gd name="connsiteY26" fmla="*/ 266713 h 721747"/>
                  <a:gd name="connsiteX27" fmla="*/ 212044 w 728037"/>
                  <a:gd name="connsiteY27" fmla="*/ 231245 h 721747"/>
                  <a:gd name="connsiteX28" fmla="*/ 220751 w 728037"/>
                  <a:gd name="connsiteY28" fmla="*/ 185198 h 721747"/>
                  <a:gd name="connsiteX29" fmla="*/ 346127 w 728037"/>
                  <a:gd name="connsiteY29" fmla="*/ 207571 h 721747"/>
                  <a:gd name="connsiteX30" fmla="*/ 345431 w 728037"/>
                  <a:gd name="connsiteY30" fmla="*/ 159010 h 721747"/>
                  <a:gd name="connsiteX31" fmla="*/ 220054 w 728037"/>
                  <a:gd name="connsiteY31" fmla="*/ 147043 h 721747"/>
                  <a:gd name="connsiteX32" fmla="*/ 211348 w 728037"/>
                  <a:gd name="connsiteY32" fmla="*/ 113657 h 721747"/>
                  <a:gd name="connsiteX33" fmla="*/ 331848 w 728037"/>
                  <a:gd name="connsiteY33" fmla="*/ 115651 h 721747"/>
                  <a:gd name="connsiteX34" fmla="*/ 320878 w 728037"/>
                  <a:gd name="connsiteY34" fmla="*/ 96226 h 721747"/>
                  <a:gd name="connsiteX35" fmla="*/ 310604 w 728037"/>
                  <a:gd name="connsiteY35" fmla="*/ 83045 h 721747"/>
                  <a:gd name="connsiteX36" fmla="*/ 198201 w 728037"/>
                  <a:gd name="connsiteY36" fmla="*/ 88162 h 721747"/>
                  <a:gd name="connsiteX37" fmla="*/ 179568 w 728037"/>
                  <a:gd name="connsiteY37" fmla="*/ 67350 h 721747"/>
                  <a:gd name="connsiteX38" fmla="*/ 281437 w 728037"/>
                  <a:gd name="connsiteY38" fmla="*/ 56770 h 721747"/>
                  <a:gd name="connsiteX39" fmla="*/ 250528 w 728037"/>
                  <a:gd name="connsiteY39" fmla="*/ 39427 h 721747"/>
                  <a:gd name="connsiteX40" fmla="*/ 159369 w 728037"/>
                  <a:gd name="connsiteY40" fmla="*/ 52868 h 721747"/>
                  <a:gd name="connsiteX41" fmla="*/ 136557 w 728037"/>
                  <a:gd name="connsiteY41" fmla="*/ 42462 h 721747"/>
                  <a:gd name="connsiteX42" fmla="*/ 196982 w 728037"/>
                  <a:gd name="connsiteY42" fmla="*/ 28934 h 721747"/>
                  <a:gd name="connsiteX43" fmla="*/ 196982 w 728037"/>
                  <a:gd name="connsiteY43" fmla="*/ 28934 h 721747"/>
                  <a:gd name="connsiteX44" fmla="*/ 113833 w 728037"/>
                  <a:gd name="connsiteY44" fmla="*/ 36131 h 721747"/>
                  <a:gd name="connsiteX45" fmla="*/ 89802 w 728037"/>
                  <a:gd name="connsiteY45" fmla="*/ 32749 h 721747"/>
                  <a:gd name="connsiteX46" fmla="*/ 146309 w 728037"/>
                  <a:gd name="connsiteY46" fmla="*/ 21216 h 721747"/>
                  <a:gd name="connsiteX47" fmla="*/ 336550 w 728037"/>
                  <a:gd name="connsiteY47" fmla="*/ 89202 h 721747"/>
                  <a:gd name="connsiteX48" fmla="*/ 336550 w 728037"/>
                  <a:gd name="connsiteY48" fmla="*/ 89202 h 721747"/>
                  <a:gd name="connsiteX49" fmla="*/ 293713 w 728037"/>
                  <a:gd name="connsiteY49" fmla="*/ 410923 h 721747"/>
                  <a:gd name="connsiteX50" fmla="*/ 217616 w 728037"/>
                  <a:gd name="connsiteY50" fmla="*/ 504144 h 721747"/>
                  <a:gd name="connsiteX51" fmla="*/ 144045 w 728037"/>
                  <a:gd name="connsiteY51" fmla="*/ 570656 h 721747"/>
                  <a:gd name="connsiteX52" fmla="*/ 25634 w 728037"/>
                  <a:gd name="connsiteY52" fmla="*/ 646187 h 721747"/>
                  <a:gd name="connsiteX53" fmla="*/ 123 w 728037"/>
                  <a:gd name="connsiteY53" fmla="*/ 658935 h 721747"/>
                  <a:gd name="connsiteX54" fmla="*/ 123 w 728037"/>
                  <a:gd name="connsiteY54" fmla="*/ 697524 h 721747"/>
                  <a:gd name="connsiteX55" fmla="*/ 109827 w 728037"/>
                  <a:gd name="connsiteY55" fmla="*/ 634133 h 721747"/>
                  <a:gd name="connsiteX56" fmla="*/ 167814 w 728037"/>
                  <a:gd name="connsiteY56" fmla="*/ 716168 h 721747"/>
                  <a:gd name="connsiteX57" fmla="*/ 257667 w 728037"/>
                  <a:gd name="connsiteY57" fmla="*/ 651217 h 721747"/>
                  <a:gd name="connsiteX58" fmla="*/ 188014 w 728037"/>
                  <a:gd name="connsiteY58" fmla="*/ 573171 h 721747"/>
                  <a:gd name="connsiteX59" fmla="*/ 260540 w 728037"/>
                  <a:gd name="connsiteY59" fmla="*/ 500069 h 721747"/>
                  <a:gd name="connsiteX60" fmla="*/ 340555 w 728037"/>
                  <a:gd name="connsiteY60" fmla="*/ 571350 h 721747"/>
                  <a:gd name="connsiteX61" fmla="*/ 403069 w 728037"/>
                  <a:gd name="connsiteY61" fmla="*/ 490443 h 721747"/>
                  <a:gd name="connsiteX62" fmla="*/ 316002 w 728037"/>
                  <a:gd name="connsiteY62" fmla="*/ 426793 h 721747"/>
                  <a:gd name="connsiteX63" fmla="*/ 357359 w 728037"/>
                  <a:gd name="connsiteY63" fmla="*/ 351435 h 721747"/>
                  <a:gd name="connsiteX64" fmla="*/ 449911 w 728037"/>
                  <a:gd name="connsiteY64" fmla="*/ 406414 h 721747"/>
                  <a:gd name="connsiteX65" fmla="*/ 476467 w 728037"/>
                  <a:gd name="connsiteY65" fmla="*/ 330363 h 721747"/>
                  <a:gd name="connsiteX66" fmla="*/ 381302 w 728037"/>
                  <a:gd name="connsiteY66" fmla="*/ 283449 h 721747"/>
                  <a:gd name="connsiteX67" fmla="*/ 391228 w 728037"/>
                  <a:gd name="connsiteY67" fmla="*/ 219192 h 721747"/>
                  <a:gd name="connsiteX68" fmla="*/ 487002 w 728037"/>
                  <a:gd name="connsiteY68" fmla="*/ 258301 h 721747"/>
                  <a:gd name="connsiteX69" fmla="*/ 482910 w 728037"/>
                  <a:gd name="connsiteY69" fmla="*/ 198986 h 721747"/>
                  <a:gd name="connsiteX70" fmla="*/ 388007 w 728037"/>
                  <a:gd name="connsiteY70" fmla="*/ 166294 h 721747"/>
                  <a:gd name="connsiteX71" fmla="*/ 373902 w 728037"/>
                  <a:gd name="connsiteY71" fmla="*/ 119814 h 721747"/>
                  <a:gd name="connsiteX72" fmla="*/ 466715 w 728037"/>
                  <a:gd name="connsiteY72" fmla="*/ 146609 h 721747"/>
                  <a:gd name="connsiteX73" fmla="*/ 442772 w 728037"/>
                  <a:gd name="connsiteY73" fmla="*/ 108800 h 721747"/>
                  <a:gd name="connsiteX74" fmla="*/ 351351 w 728037"/>
                  <a:gd name="connsiteY74" fmla="*/ 82005 h 721747"/>
                  <a:gd name="connsiteX75" fmla="*/ 328366 w 728037"/>
                  <a:gd name="connsiteY75" fmla="*/ 57811 h 721747"/>
                  <a:gd name="connsiteX76" fmla="*/ 379474 w 728037"/>
                  <a:gd name="connsiteY76" fmla="*/ 67610 h 721747"/>
                  <a:gd name="connsiteX77" fmla="*/ 306164 w 728037"/>
                  <a:gd name="connsiteY77" fmla="*/ 41161 h 721747"/>
                  <a:gd name="connsiteX78" fmla="*/ 289360 w 728037"/>
                  <a:gd name="connsiteY78" fmla="*/ 31275 h 721747"/>
                  <a:gd name="connsiteX79" fmla="*/ 437374 w 728037"/>
                  <a:gd name="connsiteY79" fmla="*/ 89896 h 721747"/>
                  <a:gd name="connsiteX80" fmla="*/ 451217 w 728037"/>
                  <a:gd name="connsiteY80" fmla="*/ 101776 h 721747"/>
                  <a:gd name="connsiteX81" fmla="*/ 465061 w 728037"/>
                  <a:gd name="connsiteY81" fmla="*/ 117906 h 721747"/>
                  <a:gd name="connsiteX82" fmla="*/ 465061 w 728037"/>
                  <a:gd name="connsiteY82" fmla="*/ 117906 h 721747"/>
                  <a:gd name="connsiteX83" fmla="*/ 226497 w 728037"/>
                  <a:gd name="connsiteY83" fmla="*/ 721631 h 721747"/>
                  <a:gd name="connsiteX84" fmla="*/ 319833 w 728037"/>
                  <a:gd name="connsiteY84" fmla="*/ 721631 h 721747"/>
                  <a:gd name="connsiteX85" fmla="*/ 300765 w 728037"/>
                  <a:gd name="connsiteY85" fmla="*/ 700559 h 721747"/>
                  <a:gd name="connsiteX86" fmla="*/ 383566 w 728037"/>
                  <a:gd name="connsiteY86" fmla="*/ 612628 h 721747"/>
                  <a:gd name="connsiteX87" fmla="*/ 446080 w 728037"/>
                  <a:gd name="connsiteY87" fmla="*/ 674630 h 721747"/>
                  <a:gd name="connsiteX88" fmla="*/ 513383 w 728037"/>
                  <a:gd name="connsiteY88" fmla="*/ 586005 h 721747"/>
                  <a:gd name="connsiteX89" fmla="*/ 445558 w 728037"/>
                  <a:gd name="connsiteY89" fmla="*/ 524349 h 721747"/>
                  <a:gd name="connsiteX90" fmla="*/ 490920 w 728037"/>
                  <a:gd name="connsiteY90" fmla="*/ 434424 h 721747"/>
                  <a:gd name="connsiteX91" fmla="*/ 562576 w 728037"/>
                  <a:gd name="connsiteY91" fmla="*/ 493912 h 721747"/>
                  <a:gd name="connsiteX92" fmla="*/ 589915 w 728037"/>
                  <a:gd name="connsiteY92" fmla="*/ 410316 h 721747"/>
                  <a:gd name="connsiteX93" fmla="*/ 516169 w 728037"/>
                  <a:gd name="connsiteY93" fmla="*/ 353777 h 721747"/>
                  <a:gd name="connsiteX94" fmla="*/ 526008 w 728037"/>
                  <a:gd name="connsiteY94" fmla="*/ 277812 h 721747"/>
                  <a:gd name="connsiteX95" fmla="*/ 599492 w 728037"/>
                  <a:gd name="connsiteY95" fmla="*/ 330363 h 721747"/>
                  <a:gd name="connsiteX96" fmla="*/ 593224 w 728037"/>
                  <a:gd name="connsiteY96" fmla="*/ 264458 h 721747"/>
                  <a:gd name="connsiteX97" fmla="*/ 521654 w 728037"/>
                  <a:gd name="connsiteY97" fmla="*/ 215636 h 721747"/>
                  <a:gd name="connsiteX98" fmla="*/ 505982 w 728037"/>
                  <a:gd name="connsiteY98" fmla="*/ 161525 h 721747"/>
                  <a:gd name="connsiteX99" fmla="*/ 505982 w 728037"/>
                  <a:gd name="connsiteY99" fmla="*/ 161525 h 721747"/>
                  <a:gd name="connsiteX100" fmla="*/ 558223 w 728037"/>
                  <a:gd name="connsiteY100" fmla="*/ 194304 h 721747"/>
                  <a:gd name="connsiteX101" fmla="*/ 490833 w 728037"/>
                  <a:gd name="connsiteY101" fmla="*/ 130827 h 721747"/>
                  <a:gd name="connsiteX102" fmla="*/ 476902 w 728037"/>
                  <a:gd name="connsiteY102" fmla="*/ 110535 h 721747"/>
                  <a:gd name="connsiteX103" fmla="*/ 572066 w 728037"/>
                  <a:gd name="connsiteY103" fmla="*/ 193697 h 721747"/>
                  <a:gd name="connsiteX104" fmla="*/ 599492 w 728037"/>
                  <a:gd name="connsiteY104" fmla="*/ 242952 h 721747"/>
                  <a:gd name="connsiteX105" fmla="*/ 604804 w 728037"/>
                  <a:gd name="connsiteY105" fmla="*/ 258474 h 721747"/>
                  <a:gd name="connsiteX106" fmla="*/ 587390 w 728037"/>
                  <a:gd name="connsiteY106" fmla="*/ 495906 h 721747"/>
                  <a:gd name="connsiteX107" fmla="*/ 448083 w 728037"/>
                  <a:gd name="connsiteY107" fmla="*/ 721371 h 721747"/>
                  <a:gd name="connsiteX108" fmla="*/ 559093 w 728037"/>
                  <a:gd name="connsiteY108" fmla="*/ 721371 h 721747"/>
                  <a:gd name="connsiteX109" fmla="*/ 589480 w 728037"/>
                  <a:gd name="connsiteY109" fmla="*/ 674977 h 721747"/>
                  <a:gd name="connsiteX110" fmla="*/ 548210 w 728037"/>
                  <a:gd name="connsiteY110" fmla="*/ 624334 h 721747"/>
                  <a:gd name="connsiteX111" fmla="*/ 596880 w 728037"/>
                  <a:gd name="connsiteY111" fmla="*/ 528945 h 721747"/>
                  <a:gd name="connsiteX112" fmla="*/ 637279 w 728037"/>
                  <a:gd name="connsiteY112" fmla="*/ 579588 h 721747"/>
                  <a:gd name="connsiteX113" fmla="*/ 662790 w 728037"/>
                  <a:gd name="connsiteY113" fmla="*/ 494779 h 721747"/>
                  <a:gd name="connsiteX114" fmla="*/ 624132 w 728037"/>
                  <a:gd name="connsiteY114" fmla="*/ 444136 h 721747"/>
                  <a:gd name="connsiteX115" fmla="*/ 634319 w 728037"/>
                  <a:gd name="connsiteY115" fmla="*/ 363489 h 721747"/>
                  <a:gd name="connsiteX116" fmla="*/ 665663 w 728037"/>
                  <a:gd name="connsiteY116" fmla="*/ 404506 h 721747"/>
                  <a:gd name="connsiteX117" fmla="*/ 665663 w 728037"/>
                  <a:gd name="connsiteY117" fmla="*/ 404506 h 721747"/>
                  <a:gd name="connsiteX118" fmla="*/ 630837 w 728037"/>
                  <a:gd name="connsiteY118" fmla="*/ 301053 h 721747"/>
                  <a:gd name="connsiteX119" fmla="*/ 630314 w 728037"/>
                  <a:gd name="connsiteY119" fmla="*/ 298017 h 721747"/>
                  <a:gd name="connsiteX120" fmla="*/ 618212 w 728037"/>
                  <a:gd name="connsiteY120" fmla="*/ 252318 h 721747"/>
                  <a:gd name="connsiteX121" fmla="*/ 665402 w 728037"/>
                  <a:gd name="connsiteY121" fmla="*/ 341896 h 721747"/>
                  <a:gd name="connsiteX122" fmla="*/ 684296 w 728037"/>
                  <a:gd name="connsiteY122" fmla="*/ 452894 h 721747"/>
                  <a:gd name="connsiteX123" fmla="*/ 591134 w 728037"/>
                  <a:gd name="connsiteY123" fmla="*/ 721718 h 721747"/>
                  <a:gd name="connsiteX124" fmla="*/ 619083 w 728037"/>
                  <a:gd name="connsiteY124" fmla="*/ 721718 h 721747"/>
                  <a:gd name="connsiteX125" fmla="*/ 666012 w 728037"/>
                  <a:gd name="connsiteY125" fmla="*/ 620432 h 721747"/>
                  <a:gd name="connsiteX126" fmla="*/ 677069 w 728037"/>
                  <a:gd name="connsiteY126" fmla="*/ 654252 h 721747"/>
                  <a:gd name="connsiteX127" fmla="*/ 697007 w 728037"/>
                  <a:gd name="connsiteY127" fmla="*/ 550972 h 721747"/>
                  <a:gd name="connsiteX128" fmla="*/ 691871 w 728037"/>
                  <a:gd name="connsiteY128" fmla="*/ 534322 h 721747"/>
                  <a:gd name="connsiteX129" fmla="*/ 700577 w 728037"/>
                  <a:gd name="connsiteY129" fmla="*/ 469718 h 721747"/>
                  <a:gd name="connsiteX130" fmla="*/ 705540 w 728037"/>
                  <a:gd name="connsiteY130" fmla="*/ 541606 h 721747"/>
                  <a:gd name="connsiteX131" fmla="*/ 690913 w 728037"/>
                  <a:gd name="connsiteY131" fmla="*/ 664745 h 721747"/>
                  <a:gd name="connsiteX132" fmla="*/ 673499 w 728037"/>
                  <a:gd name="connsiteY132" fmla="*/ 721718 h 721747"/>
                  <a:gd name="connsiteX133" fmla="*/ 697530 w 728037"/>
                  <a:gd name="connsiteY133" fmla="*/ 721718 h 721747"/>
                  <a:gd name="connsiteX134" fmla="*/ 361722 w 728037"/>
                  <a:gd name="connsiteY134" fmla="*/ 30152 h 721747"/>
                  <a:gd name="connsiteX135" fmla="*/ 184096 w 728037"/>
                  <a:gd name="connsiteY135" fmla="*/ -30 h 721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728037" h="721747">
                    <a:moveTo>
                      <a:pt x="184096" y="-30"/>
                    </a:moveTo>
                    <a:cubicBezTo>
                      <a:pt x="121456" y="-90"/>
                      <a:pt x="59286" y="10739"/>
                      <a:pt x="384" y="31969"/>
                    </a:cubicBezTo>
                    <a:lnTo>
                      <a:pt x="384" y="31969"/>
                    </a:lnTo>
                    <a:lnTo>
                      <a:pt x="384" y="53908"/>
                    </a:lnTo>
                    <a:cubicBezTo>
                      <a:pt x="6391" y="51742"/>
                      <a:pt x="12527" y="49947"/>
                      <a:pt x="18755" y="48532"/>
                    </a:cubicBezTo>
                    <a:cubicBezTo>
                      <a:pt x="23225" y="47549"/>
                      <a:pt x="27665" y="46682"/>
                      <a:pt x="32077" y="45930"/>
                    </a:cubicBezTo>
                    <a:lnTo>
                      <a:pt x="36778" y="45237"/>
                    </a:lnTo>
                    <a:cubicBezTo>
                      <a:pt x="94591" y="36565"/>
                      <a:pt x="144306" y="48705"/>
                      <a:pt x="174170" y="82872"/>
                    </a:cubicBezTo>
                    <a:lnTo>
                      <a:pt x="174170" y="82872"/>
                    </a:lnTo>
                    <a:cubicBezTo>
                      <a:pt x="238948" y="157796"/>
                      <a:pt x="184792" y="311199"/>
                      <a:pt x="52624" y="425752"/>
                    </a:cubicBezTo>
                    <a:cubicBezTo>
                      <a:pt x="36234" y="440015"/>
                      <a:pt x="18992" y="453279"/>
                      <a:pt x="994" y="465468"/>
                    </a:cubicBezTo>
                    <a:cubicBezTo>
                      <a:pt x="681" y="465749"/>
                      <a:pt x="329" y="465983"/>
                      <a:pt x="-51" y="466162"/>
                    </a:cubicBezTo>
                    <a:lnTo>
                      <a:pt x="-51" y="502583"/>
                    </a:lnTo>
                    <a:cubicBezTo>
                      <a:pt x="5173" y="499028"/>
                      <a:pt x="10397" y="495386"/>
                      <a:pt x="15447" y="491570"/>
                    </a:cubicBezTo>
                    <a:cubicBezTo>
                      <a:pt x="22673" y="503711"/>
                      <a:pt x="70473" y="579762"/>
                      <a:pt x="71344" y="581063"/>
                    </a:cubicBezTo>
                    <a:cubicBezTo>
                      <a:pt x="74914" y="578808"/>
                      <a:pt x="85187" y="572391"/>
                      <a:pt x="97464" y="563719"/>
                    </a:cubicBezTo>
                    <a:cubicBezTo>
                      <a:pt x="111917" y="553920"/>
                      <a:pt x="129330" y="541693"/>
                      <a:pt x="145003" y="528599"/>
                    </a:cubicBezTo>
                    <a:lnTo>
                      <a:pt x="147092" y="526778"/>
                    </a:lnTo>
                    <a:lnTo>
                      <a:pt x="73956" y="443095"/>
                    </a:lnTo>
                    <a:cubicBezTo>
                      <a:pt x="81357" y="435811"/>
                      <a:pt x="106084" y="411357"/>
                      <a:pt x="126196" y="388030"/>
                    </a:cubicBezTo>
                    <a:cubicBezTo>
                      <a:pt x="130811" y="391585"/>
                      <a:pt x="191670" y="438586"/>
                      <a:pt x="216049" y="460352"/>
                    </a:cubicBezTo>
                    <a:cubicBezTo>
                      <a:pt x="234860" y="439946"/>
                      <a:pt x="252311" y="418336"/>
                      <a:pt x="268289" y="395661"/>
                    </a:cubicBezTo>
                    <a:cubicBezTo>
                      <a:pt x="234769" y="373722"/>
                      <a:pt x="165028" y="334092"/>
                      <a:pt x="165028" y="334092"/>
                    </a:cubicBezTo>
                    <a:cubicBezTo>
                      <a:pt x="176224" y="316582"/>
                      <a:pt x="186146" y="298296"/>
                      <a:pt x="194718" y="279373"/>
                    </a:cubicBezTo>
                    <a:cubicBezTo>
                      <a:pt x="194718" y="279373"/>
                      <a:pt x="276038" y="311025"/>
                      <a:pt x="309211" y="327328"/>
                    </a:cubicBezTo>
                    <a:cubicBezTo>
                      <a:pt x="317770" y="310223"/>
                      <a:pt x="325131" y="292548"/>
                      <a:pt x="331239" y="274430"/>
                    </a:cubicBezTo>
                    <a:cubicBezTo>
                      <a:pt x="332110" y="271829"/>
                      <a:pt x="332980" y="269314"/>
                      <a:pt x="333764" y="266713"/>
                    </a:cubicBezTo>
                    <a:cubicBezTo>
                      <a:pt x="293936" y="252487"/>
                      <a:pt x="253290" y="240644"/>
                      <a:pt x="212044" y="231245"/>
                    </a:cubicBezTo>
                    <a:cubicBezTo>
                      <a:pt x="216379" y="216200"/>
                      <a:pt x="219293" y="200784"/>
                      <a:pt x="220751" y="185198"/>
                    </a:cubicBezTo>
                    <a:cubicBezTo>
                      <a:pt x="263025" y="189667"/>
                      <a:pt x="304925" y="197145"/>
                      <a:pt x="346127" y="207571"/>
                    </a:cubicBezTo>
                    <a:cubicBezTo>
                      <a:pt x="347783" y="191412"/>
                      <a:pt x="347550" y="175116"/>
                      <a:pt x="345431" y="159010"/>
                    </a:cubicBezTo>
                    <a:cubicBezTo>
                      <a:pt x="304059" y="151457"/>
                      <a:pt x="262113" y="147453"/>
                      <a:pt x="220054" y="147043"/>
                    </a:cubicBezTo>
                    <a:cubicBezTo>
                      <a:pt x="218518" y="135604"/>
                      <a:pt x="215595" y="124394"/>
                      <a:pt x="211348" y="113657"/>
                    </a:cubicBezTo>
                    <a:cubicBezTo>
                      <a:pt x="251492" y="110699"/>
                      <a:pt x="291825" y="111366"/>
                      <a:pt x="331848" y="115651"/>
                    </a:cubicBezTo>
                    <a:cubicBezTo>
                      <a:pt x="328598" y="108957"/>
                      <a:pt x="324934" y="102469"/>
                      <a:pt x="320878" y="96226"/>
                    </a:cubicBezTo>
                    <a:cubicBezTo>
                      <a:pt x="317656" y="91630"/>
                      <a:pt x="310604" y="83045"/>
                      <a:pt x="310604" y="83045"/>
                    </a:cubicBezTo>
                    <a:cubicBezTo>
                      <a:pt x="273059" y="81006"/>
                      <a:pt x="235402" y="82720"/>
                      <a:pt x="198201" y="88162"/>
                    </a:cubicBezTo>
                    <a:cubicBezTo>
                      <a:pt x="192834" y="80519"/>
                      <a:pt x="186580" y="73533"/>
                      <a:pt x="179568" y="67350"/>
                    </a:cubicBezTo>
                    <a:cubicBezTo>
                      <a:pt x="213065" y="60316"/>
                      <a:pt x="247204" y="56771"/>
                      <a:pt x="281437" y="56770"/>
                    </a:cubicBezTo>
                    <a:cubicBezTo>
                      <a:pt x="271633" y="50148"/>
                      <a:pt x="261294" y="44347"/>
                      <a:pt x="250528" y="39427"/>
                    </a:cubicBezTo>
                    <a:cubicBezTo>
                      <a:pt x="219746" y="40650"/>
                      <a:pt x="189186" y="45157"/>
                      <a:pt x="159369" y="52868"/>
                    </a:cubicBezTo>
                    <a:cubicBezTo>
                      <a:pt x="152159" y="48601"/>
                      <a:pt x="144511" y="45112"/>
                      <a:pt x="136557" y="42462"/>
                    </a:cubicBezTo>
                    <a:cubicBezTo>
                      <a:pt x="156315" y="36398"/>
                      <a:pt x="176518" y="31875"/>
                      <a:pt x="196982" y="28934"/>
                    </a:cubicBezTo>
                    <a:lnTo>
                      <a:pt x="196982" y="28934"/>
                    </a:lnTo>
                    <a:cubicBezTo>
                      <a:pt x="164157" y="24685"/>
                      <a:pt x="118621" y="34917"/>
                      <a:pt x="113833" y="36131"/>
                    </a:cubicBezTo>
                    <a:cubicBezTo>
                      <a:pt x="106780" y="34657"/>
                      <a:pt x="97029" y="33443"/>
                      <a:pt x="89802" y="32749"/>
                    </a:cubicBezTo>
                    <a:cubicBezTo>
                      <a:pt x="108373" y="27715"/>
                      <a:pt x="127246" y="23863"/>
                      <a:pt x="146309" y="21216"/>
                    </a:cubicBezTo>
                    <a:cubicBezTo>
                      <a:pt x="175650" y="17140"/>
                      <a:pt x="273775" y="5087"/>
                      <a:pt x="336550" y="89202"/>
                    </a:cubicBezTo>
                    <a:lnTo>
                      <a:pt x="336550" y="89202"/>
                    </a:lnTo>
                    <a:cubicBezTo>
                      <a:pt x="395930" y="168809"/>
                      <a:pt x="374337" y="292381"/>
                      <a:pt x="293713" y="410923"/>
                    </a:cubicBezTo>
                    <a:cubicBezTo>
                      <a:pt x="271290" y="444269"/>
                      <a:pt x="245816" y="475476"/>
                      <a:pt x="217616" y="504144"/>
                    </a:cubicBezTo>
                    <a:cubicBezTo>
                      <a:pt x="194571" y="527885"/>
                      <a:pt x="169994" y="550103"/>
                      <a:pt x="144045" y="570656"/>
                    </a:cubicBezTo>
                    <a:cubicBezTo>
                      <a:pt x="107428" y="600017"/>
                      <a:pt x="67726" y="625340"/>
                      <a:pt x="25634" y="646187"/>
                    </a:cubicBezTo>
                    <a:cubicBezTo>
                      <a:pt x="16927" y="650610"/>
                      <a:pt x="8220" y="654859"/>
                      <a:pt x="123" y="658935"/>
                    </a:cubicBezTo>
                    <a:lnTo>
                      <a:pt x="123" y="697524"/>
                    </a:lnTo>
                    <a:cubicBezTo>
                      <a:pt x="38618" y="679885"/>
                      <a:pt x="75350" y="658666"/>
                      <a:pt x="109827" y="634133"/>
                    </a:cubicBezTo>
                    <a:lnTo>
                      <a:pt x="167814" y="716168"/>
                    </a:lnTo>
                    <a:cubicBezTo>
                      <a:pt x="198992" y="696249"/>
                      <a:pt x="228993" y="674570"/>
                      <a:pt x="257667" y="651217"/>
                    </a:cubicBezTo>
                    <a:lnTo>
                      <a:pt x="188014" y="573171"/>
                    </a:lnTo>
                    <a:cubicBezTo>
                      <a:pt x="213788" y="550431"/>
                      <a:pt x="238017" y="526009"/>
                      <a:pt x="260540" y="500069"/>
                    </a:cubicBezTo>
                    <a:cubicBezTo>
                      <a:pt x="260540" y="500069"/>
                      <a:pt x="332632" y="563806"/>
                      <a:pt x="340555" y="571350"/>
                    </a:cubicBezTo>
                    <a:cubicBezTo>
                      <a:pt x="363269" y="545872"/>
                      <a:pt x="384158" y="518836"/>
                      <a:pt x="403069" y="490443"/>
                    </a:cubicBezTo>
                    <a:cubicBezTo>
                      <a:pt x="365456" y="460786"/>
                      <a:pt x="316525" y="427313"/>
                      <a:pt x="316002" y="426793"/>
                    </a:cubicBezTo>
                    <a:cubicBezTo>
                      <a:pt x="331342" y="402551"/>
                      <a:pt x="345154" y="377384"/>
                      <a:pt x="357359" y="351435"/>
                    </a:cubicBezTo>
                    <a:cubicBezTo>
                      <a:pt x="357359" y="351435"/>
                      <a:pt x="404985" y="377450"/>
                      <a:pt x="449911" y="406414"/>
                    </a:cubicBezTo>
                    <a:cubicBezTo>
                      <a:pt x="460960" y="381880"/>
                      <a:pt x="469850" y="356434"/>
                      <a:pt x="476467" y="330363"/>
                    </a:cubicBezTo>
                    <a:cubicBezTo>
                      <a:pt x="446951" y="313020"/>
                      <a:pt x="381302" y="283449"/>
                      <a:pt x="381302" y="283449"/>
                    </a:cubicBezTo>
                    <a:cubicBezTo>
                      <a:pt x="386766" y="262416"/>
                      <a:pt x="390091" y="240888"/>
                      <a:pt x="391228" y="219192"/>
                    </a:cubicBezTo>
                    <a:cubicBezTo>
                      <a:pt x="424022" y="230009"/>
                      <a:pt x="456023" y="243076"/>
                      <a:pt x="487002" y="258301"/>
                    </a:cubicBezTo>
                    <a:cubicBezTo>
                      <a:pt x="487751" y="238441"/>
                      <a:pt x="486384" y="218558"/>
                      <a:pt x="482910" y="198986"/>
                    </a:cubicBezTo>
                    <a:cubicBezTo>
                      <a:pt x="452297" y="185342"/>
                      <a:pt x="420541" y="174403"/>
                      <a:pt x="388007" y="166294"/>
                    </a:cubicBezTo>
                    <a:cubicBezTo>
                      <a:pt x="385223" y="150286"/>
                      <a:pt x="380487" y="134677"/>
                      <a:pt x="373902" y="119814"/>
                    </a:cubicBezTo>
                    <a:cubicBezTo>
                      <a:pt x="405559" y="126055"/>
                      <a:pt x="436616" y="135020"/>
                      <a:pt x="466715" y="146609"/>
                    </a:cubicBezTo>
                    <a:cubicBezTo>
                      <a:pt x="460751" y="132846"/>
                      <a:pt x="452671" y="120092"/>
                      <a:pt x="442772" y="108800"/>
                    </a:cubicBezTo>
                    <a:cubicBezTo>
                      <a:pt x="414910" y="93538"/>
                      <a:pt x="351351" y="82005"/>
                      <a:pt x="351351" y="82005"/>
                    </a:cubicBezTo>
                    <a:cubicBezTo>
                      <a:pt x="344443" y="73262"/>
                      <a:pt x="336749" y="65164"/>
                      <a:pt x="328366" y="57811"/>
                    </a:cubicBezTo>
                    <a:cubicBezTo>
                      <a:pt x="348304" y="60586"/>
                      <a:pt x="379474" y="67610"/>
                      <a:pt x="379474" y="67610"/>
                    </a:cubicBezTo>
                    <a:cubicBezTo>
                      <a:pt x="355915" y="56546"/>
                      <a:pt x="331371" y="47693"/>
                      <a:pt x="306164" y="41161"/>
                    </a:cubicBezTo>
                    <a:cubicBezTo>
                      <a:pt x="306164" y="41161"/>
                      <a:pt x="298502" y="36131"/>
                      <a:pt x="289360" y="31275"/>
                    </a:cubicBezTo>
                    <a:cubicBezTo>
                      <a:pt x="289360" y="31275"/>
                      <a:pt x="385133" y="50873"/>
                      <a:pt x="437374" y="89896"/>
                    </a:cubicBezTo>
                    <a:cubicBezTo>
                      <a:pt x="442215" y="93586"/>
                      <a:pt x="446838" y="97552"/>
                      <a:pt x="451217" y="101776"/>
                    </a:cubicBezTo>
                    <a:cubicBezTo>
                      <a:pt x="456302" y="106732"/>
                      <a:pt x="460934" y="112130"/>
                      <a:pt x="465061" y="117906"/>
                    </a:cubicBezTo>
                    <a:lnTo>
                      <a:pt x="465061" y="117906"/>
                    </a:lnTo>
                    <a:cubicBezTo>
                      <a:pt x="568671" y="259168"/>
                      <a:pt x="479079" y="531287"/>
                      <a:pt x="226497" y="721631"/>
                    </a:cubicBezTo>
                    <a:lnTo>
                      <a:pt x="319833" y="721631"/>
                    </a:lnTo>
                    <a:lnTo>
                      <a:pt x="300765" y="700559"/>
                    </a:lnTo>
                    <a:cubicBezTo>
                      <a:pt x="330461" y="673278"/>
                      <a:pt x="358133" y="643889"/>
                      <a:pt x="383566" y="612628"/>
                    </a:cubicBezTo>
                    <a:lnTo>
                      <a:pt x="446080" y="674630"/>
                    </a:lnTo>
                    <a:cubicBezTo>
                      <a:pt x="470755" y="646846"/>
                      <a:pt x="493262" y="617215"/>
                      <a:pt x="513383" y="586005"/>
                    </a:cubicBezTo>
                    <a:cubicBezTo>
                      <a:pt x="513383" y="586005"/>
                      <a:pt x="480472" y="554614"/>
                      <a:pt x="445558" y="524349"/>
                    </a:cubicBezTo>
                    <a:cubicBezTo>
                      <a:pt x="463154" y="495676"/>
                      <a:pt x="478321" y="465598"/>
                      <a:pt x="490920" y="434424"/>
                    </a:cubicBezTo>
                    <a:cubicBezTo>
                      <a:pt x="515830" y="452992"/>
                      <a:pt x="539756" y="472848"/>
                      <a:pt x="562576" y="493912"/>
                    </a:cubicBezTo>
                    <a:cubicBezTo>
                      <a:pt x="574147" y="466905"/>
                      <a:pt x="583298" y="438931"/>
                      <a:pt x="589915" y="410316"/>
                    </a:cubicBezTo>
                    <a:cubicBezTo>
                      <a:pt x="566825" y="389619"/>
                      <a:pt x="542167" y="370717"/>
                      <a:pt x="516169" y="353777"/>
                    </a:cubicBezTo>
                    <a:cubicBezTo>
                      <a:pt x="521863" y="328824"/>
                      <a:pt x="525155" y="303387"/>
                      <a:pt x="526008" y="277812"/>
                    </a:cubicBezTo>
                    <a:cubicBezTo>
                      <a:pt x="551875" y="293341"/>
                      <a:pt x="576446" y="310914"/>
                      <a:pt x="599492" y="330363"/>
                    </a:cubicBezTo>
                    <a:cubicBezTo>
                      <a:pt x="599936" y="308228"/>
                      <a:pt x="597829" y="286116"/>
                      <a:pt x="593224" y="264458"/>
                    </a:cubicBezTo>
                    <a:cubicBezTo>
                      <a:pt x="571091" y="245804"/>
                      <a:pt x="547113" y="229446"/>
                      <a:pt x="521654" y="215636"/>
                    </a:cubicBezTo>
                    <a:cubicBezTo>
                      <a:pt x="518381" y="197094"/>
                      <a:pt x="513131" y="178953"/>
                      <a:pt x="505982" y="161525"/>
                    </a:cubicBezTo>
                    <a:cubicBezTo>
                      <a:pt x="505982" y="161525"/>
                      <a:pt x="505982" y="161525"/>
                      <a:pt x="505982" y="161525"/>
                    </a:cubicBezTo>
                    <a:cubicBezTo>
                      <a:pt x="524206" y="171120"/>
                      <a:pt x="541663" y="182077"/>
                      <a:pt x="558223" y="194304"/>
                    </a:cubicBezTo>
                    <a:cubicBezTo>
                      <a:pt x="538250" y="170669"/>
                      <a:pt x="515638" y="149374"/>
                      <a:pt x="490833" y="130827"/>
                    </a:cubicBezTo>
                    <a:cubicBezTo>
                      <a:pt x="486610" y="123785"/>
                      <a:pt x="481961" y="117008"/>
                      <a:pt x="476902" y="110535"/>
                    </a:cubicBezTo>
                    <a:cubicBezTo>
                      <a:pt x="511886" y="134321"/>
                      <a:pt x="543839" y="162246"/>
                      <a:pt x="572066" y="193697"/>
                    </a:cubicBezTo>
                    <a:cubicBezTo>
                      <a:pt x="583664" y="208633"/>
                      <a:pt x="592919" y="225242"/>
                      <a:pt x="599492" y="242952"/>
                    </a:cubicBezTo>
                    <a:cubicBezTo>
                      <a:pt x="601495" y="248155"/>
                      <a:pt x="603236" y="253358"/>
                      <a:pt x="604804" y="258474"/>
                    </a:cubicBezTo>
                    <a:cubicBezTo>
                      <a:pt x="628050" y="336520"/>
                      <a:pt x="613510" y="424104"/>
                      <a:pt x="587390" y="495906"/>
                    </a:cubicBezTo>
                    <a:cubicBezTo>
                      <a:pt x="555611" y="579123"/>
                      <a:pt x="508351" y="655613"/>
                      <a:pt x="448083" y="721371"/>
                    </a:cubicBezTo>
                    <a:lnTo>
                      <a:pt x="559093" y="721371"/>
                    </a:lnTo>
                    <a:cubicBezTo>
                      <a:pt x="569803" y="706109"/>
                      <a:pt x="579554" y="691627"/>
                      <a:pt x="589480" y="674977"/>
                    </a:cubicBezTo>
                    <a:cubicBezTo>
                      <a:pt x="582079" y="663791"/>
                      <a:pt x="548210" y="624334"/>
                      <a:pt x="548210" y="624334"/>
                    </a:cubicBezTo>
                    <a:cubicBezTo>
                      <a:pt x="567008" y="593910"/>
                      <a:pt x="583289" y="562007"/>
                      <a:pt x="596880" y="528945"/>
                    </a:cubicBezTo>
                    <a:cubicBezTo>
                      <a:pt x="611290" y="545057"/>
                      <a:pt x="624777" y="561964"/>
                      <a:pt x="637279" y="579588"/>
                    </a:cubicBezTo>
                    <a:cubicBezTo>
                      <a:pt x="648415" y="552170"/>
                      <a:pt x="656957" y="523777"/>
                      <a:pt x="662790" y="494779"/>
                    </a:cubicBezTo>
                    <a:cubicBezTo>
                      <a:pt x="651019" y="477079"/>
                      <a:pt x="638107" y="460162"/>
                      <a:pt x="624132" y="444136"/>
                    </a:cubicBezTo>
                    <a:cubicBezTo>
                      <a:pt x="630166" y="417650"/>
                      <a:pt x="633579" y="390638"/>
                      <a:pt x="634319" y="363489"/>
                    </a:cubicBezTo>
                    <a:cubicBezTo>
                      <a:pt x="647640" y="379358"/>
                      <a:pt x="665663" y="404506"/>
                      <a:pt x="665663" y="404506"/>
                    </a:cubicBezTo>
                    <a:lnTo>
                      <a:pt x="665663" y="404506"/>
                    </a:lnTo>
                    <a:cubicBezTo>
                      <a:pt x="661702" y="367919"/>
                      <a:pt x="649817" y="332624"/>
                      <a:pt x="630837" y="301053"/>
                    </a:cubicBezTo>
                    <a:cubicBezTo>
                      <a:pt x="630723" y="300031"/>
                      <a:pt x="630549" y="299017"/>
                      <a:pt x="630314" y="298017"/>
                    </a:cubicBezTo>
                    <a:cubicBezTo>
                      <a:pt x="627188" y="282560"/>
                      <a:pt x="623149" y="267300"/>
                      <a:pt x="618212" y="252318"/>
                    </a:cubicBezTo>
                    <a:cubicBezTo>
                      <a:pt x="636879" y="280547"/>
                      <a:pt x="652690" y="310554"/>
                      <a:pt x="665402" y="341896"/>
                    </a:cubicBezTo>
                    <a:cubicBezTo>
                      <a:pt x="678375" y="377457"/>
                      <a:pt x="684775" y="415062"/>
                      <a:pt x="684296" y="452894"/>
                    </a:cubicBezTo>
                    <a:cubicBezTo>
                      <a:pt x="684296" y="475094"/>
                      <a:pt x="679855" y="590862"/>
                      <a:pt x="591134" y="721718"/>
                    </a:cubicBezTo>
                    <a:lnTo>
                      <a:pt x="619083" y="721718"/>
                    </a:lnTo>
                    <a:cubicBezTo>
                      <a:pt x="636801" y="688947"/>
                      <a:pt x="652473" y="655119"/>
                      <a:pt x="666012" y="620432"/>
                    </a:cubicBezTo>
                    <a:cubicBezTo>
                      <a:pt x="666012" y="621560"/>
                      <a:pt x="672542" y="637776"/>
                      <a:pt x="677069" y="654252"/>
                    </a:cubicBezTo>
                    <a:cubicBezTo>
                      <a:pt x="686646" y="620450"/>
                      <a:pt x="693324" y="585901"/>
                      <a:pt x="697007" y="550972"/>
                    </a:cubicBezTo>
                    <a:cubicBezTo>
                      <a:pt x="695876" y="546376"/>
                      <a:pt x="693351" y="538918"/>
                      <a:pt x="691871" y="534322"/>
                    </a:cubicBezTo>
                    <a:cubicBezTo>
                      <a:pt x="695971" y="512965"/>
                      <a:pt x="698879" y="491397"/>
                      <a:pt x="700577" y="469718"/>
                    </a:cubicBezTo>
                    <a:cubicBezTo>
                      <a:pt x="703860" y="493541"/>
                      <a:pt x="705514" y="517559"/>
                      <a:pt x="705540" y="541606"/>
                    </a:cubicBezTo>
                    <a:cubicBezTo>
                      <a:pt x="705584" y="583085"/>
                      <a:pt x="700673" y="624421"/>
                      <a:pt x="690913" y="664745"/>
                    </a:cubicBezTo>
                    <a:cubicBezTo>
                      <a:pt x="685950" y="684343"/>
                      <a:pt x="679942" y="703594"/>
                      <a:pt x="673499" y="721718"/>
                    </a:cubicBezTo>
                    <a:lnTo>
                      <a:pt x="697530" y="721718"/>
                    </a:lnTo>
                    <a:cubicBezTo>
                      <a:pt x="796543" y="438389"/>
                      <a:pt x="646195" y="128765"/>
                      <a:pt x="361722" y="30152"/>
                    </a:cubicBezTo>
                    <a:cubicBezTo>
                      <a:pt x="304603" y="10352"/>
                      <a:pt x="244575" y="152"/>
                      <a:pt x="184096" y="-30"/>
                    </a:cubicBezTo>
                    <a:close/>
                  </a:path>
                </a:pathLst>
              </a:custGeom>
              <a:grpFill/>
              <a:ln w="10319" cap="flat">
                <a:noFill/>
                <a:prstDash val="solid"/>
                <a:miter/>
              </a:ln>
            </p:spPr>
            <p:txBody>
              <a:bodyPr rtlCol="0" anchor="ctr"/>
              <a:lstStyle/>
              <a:p>
                <a:endParaRPr lang="en-GB"/>
              </a:p>
            </p:txBody>
          </p:sp>
          <p:sp>
            <p:nvSpPr>
              <p:cNvPr id="15" name="Freeform 22">
                <a:extLst>
                  <a:ext uri="{FF2B5EF4-FFF2-40B4-BE49-F238E27FC236}">
                    <a16:creationId xmlns:a16="http://schemas.microsoft.com/office/drawing/2014/main" id="{1A4ADFD5-495D-10CE-0C90-6266CB3EE85E}"/>
                  </a:ext>
                </a:extLst>
              </p:cNvPr>
              <p:cNvSpPr/>
              <p:nvPr userDrawn="1"/>
            </p:nvSpPr>
            <p:spPr>
              <a:xfrm>
                <a:off x="-210" y="6065298"/>
                <a:ext cx="60959" cy="41199"/>
              </a:xfrm>
              <a:custGeom>
                <a:avLst/>
                <a:gdLst>
                  <a:gd name="connsiteX0" fmla="*/ 17362 w 51195"/>
                  <a:gd name="connsiteY0" fmla="*/ 4653 h 34600"/>
                  <a:gd name="connsiteX1" fmla="*/ -51 w 51195"/>
                  <a:gd name="connsiteY1" fmla="*/ 17227 h 34600"/>
                  <a:gd name="connsiteX2" fmla="*/ -51 w 51195"/>
                  <a:gd name="connsiteY2" fmla="*/ 34570 h 34600"/>
                  <a:gd name="connsiteX3" fmla="*/ 51144 w 51195"/>
                  <a:gd name="connsiteY3" fmla="*/ -30 h 34600"/>
                  <a:gd name="connsiteX4" fmla="*/ 17362 w 51195"/>
                  <a:gd name="connsiteY4" fmla="*/ 4653 h 3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95" h="34600">
                    <a:moveTo>
                      <a:pt x="17362" y="4653"/>
                    </a:moveTo>
                    <a:cubicBezTo>
                      <a:pt x="11442" y="8555"/>
                      <a:pt x="5695" y="12804"/>
                      <a:pt x="-51" y="17227"/>
                    </a:cubicBezTo>
                    <a:lnTo>
                      <a:pt x="-51" y="34570"/>
                    </a:lnTo>
                    <a:cubicBezTo>
                      <a:pt x="16148" y="21814"/>
                      <a:pt x="33258" y="10250"/>
                      <a:pt x="51144" y="-30"/>
                    </a:cubicBezTo>
                    <a:cubicBezTo>
                      <a:pt x="39785" y="714"/>
                      <a:pt x="28495" y="2279"/>
                      <a:pt x="17362" y="4653"/>
                    </a:cubicBezTo>
                    <a:close/>
                  </a:path>
                </a:pathLst>
              </a:custGeom>
              <a:grpFill/>
              <a:ln w="10319" cap="flat">
                <a:noFill/>
                <a:prstDash val="solid"/>
                <a:miter/>
              </a:ln>
            </p:spPr>
            <p:txBody>
              <a:bodyPr rtlCol="0" anchor="ctr"/>
              <a:lstStyle/>
              <a:p>
                <a:endParaRPr lang="en-GB"/>
              </a:p>
            </p:txBody>
          </p:sp>
          <p:sp>
            <p:nvSpPr>
              <p:cNvPr id="16" name="Freeform 23">
                <a:extLst>
                  <a:ext uri="{FF2B5EF4-FFF2-40B4-BE49-F238E27FC236}">
                    <a16:creationId xmlns:a16="http://schemas.microsoft.com/office/drawing/2014/main" id="{7BF5F63A-4B69-B08D-229C-0756DB3CB578}"/>
                  </a:ext>
                </a:extLst>
              </p:cNvPr>
              <p:cNvSpPr/>
              <p:nvPr userDrawn="1"/>
            </p:nvSpPr>
            <p:spPr>
              <a:xfrm>
                <a:off x="-3" y="6065298"/>
                <a:ext cx="215183" cy="362016"/>
              </a:xfrm>
              <a:custGeom>
                <a:avLst/>
                <a:gdLst>
                  <a:gd name="connsiteX0" fmla="*/ 85797 w 180715"/>
                  <a:gd name="connsiteY0" fmla="*/ 304001 h 304030"/>
                  <a:gd name="connsiteX1" fmla="*/ 122452 w 180715"/>
                  <a:gd name="connsiteY1" fmla="*/ 259948 h 304030"/>
                  <a:gd name="connsiteX2" fmla="*/ 20584 w 180715"/>
                  <a:gd name="connsiteY2" fmla="*/ 212167 h 304030"/>
                  <a:gd name="connsiteX3" fmla="*/ 36256 w 180715"/>
                  <a:gd name="connsiteY3" fmla="*/ 181816 h 304030"/>
                  <a:gd name="connsiteX4" fmla="*/ 152490 w 180715"/>
                  <a:gd name="connsiteY4" fmla="*/ 211820 h 304030"/>
                  <a:gd name="connsiteX5" fmla="*/ 169904 w 180715"/>
                  <a:gd name="connsiteY5" fmla="*/ 169762 h 304030"/>
                  <a:gd name="connsiteX6" fmla="*/ 44440 w 180715"/>
                  <a:gd name="connsiteY6" fmla="*/ 156581 h 304030"/>
                  <a:gd name="connsiteX7" fmla="*/ 48097 w 180715"/>
                  <a:gd name="connsiteY7" fmla="*/ 131520 h 304030"/>
                  <a:gd name="connsiteX8" fmla="*/ 179307 w 180715"/>
                  <a:gd name="connsiteY8" fmla="*/ 128485 h 304030"/>
                  <a:gd name="connsiteX9" fmla="*/ 180178 w 180715"/>
                  <a:gd name="connsiteY9" fmla="*/ 95099 h 304030"/>
                  <a:gd name="connsiteX10" fmla="*/ 47313 w 180715"/>
                  <a:gd name="connsiteY10" fmla="*/ 112442 h 304030"/>
                  <a:gd name="connsiteX11" fmla="*/ 43221 w 180715"/>
                  <a:gd name="connsiteY11" fmla="*/ 95099 h 304030"/>
                  <a:gd name="connsiteX12" fmla="*/ 173822 w 180715"/>
                  <a:gd name="connsiteY12" fmla="*/ 65181 h 304030"/>
                  <a:gd name="connsiteX13" fmla="*/ 161458 w 180715"/>
                  <a:gd name="connsiteY13" fmla="*/ 42201 h 304030"/>
                  <a:gd name="connsiteX14" fmla="*/ 38171 w 180715"/>
                  <a:gd name="connsiteY14" fmla="*/ 80704 h 304030"/>
                  <a:gd name="connsiteX15" fmla="*/ 37214 w 180715"/>
                  <a:gd name="connsiteY15" fmla="*/ 80704 h 304030"/>
                  <a:gd name="connsiteX16" fmla="*/ 28507 w 180715"/>
                  <a:gd name="connsiteY16" fmla="*/ 68824 h 304030"/>
                  <a:gd name="connsiteX17" fmla="*/ 143087 w 180715"/>
                  <a:gd name="connsiteY17" fmla="*/ 23297 h 304030"/>
                  <a:gd name="connsiteX18" fmla="*/ 122713 w 180715"/>
                  <a:gd name="connsiteY18" fmla="*/ 11157 h 304030"/>
                  <a:gd name="connsiteX19" fmla="*/ 19713 w 180715"/>
                  <a:gd name="connsiteY19" fmla="*/ 60152 h 304030"/>
                  <a:gd name="connsiteX20" fmla="*/ 9265 w 180715"/>
                  <a:gd name="connsiteY20" fmla="*/ 52781 h 304030"/>
                  <a:gd name="connsiteX21" fmla="*/ 99205 w 180715"/>
                  <a:gd name="connsiteY21" fmla="*/ 3352 h 304030"/>
                  <a:gd name="connsiteX22" fmla="*/ 75958 w 180715"/>
                  <a:gd name="connsiteY22" fmla="*/ -30 h 304030"/>
                  <a:gd name="connsiteX23" fmla="*/ -51 w 180715"/>
                  <a:gd name="connsiteY23" fmla="*/ 47751 h 304030"/>
                  <a:gd name="connsiteX24" fmla="*/ -51 w 180715"/>
                  <a:gd name="connsiteY24" fmla="*/ 47751 h 304030"/>
                  <a:gd name="connsiteX25" fmla="*/ -51 w 180715"/>
                  <a:gd name="connsiteY25" fmla="*/ 67610 h 304030"/>
                  <a:gd name="connsiteX26" fmla="*/ 8656 w 180715"/>
                  <a:gd name="connsiteY26" fmla="*/ 73940 h 304030"/>
                  <a:gd name="connsiteX27" fmla="*/ -51 w 180715"/>
                  <a:gd name="connsiteY27" fmla="*/ 203235 h 304030"/>
                  <a:gd name="connsiteX28" fmla="*/ -51 w 180715"/>
                  <a:gd name="connsiteY28" fmla="*/ 243385 h 304030"/>
                  <a:gd name="connsiteX29" fmla="*/ 66033 w 180715"/>
                  <a:gd name="connsiteY29" fmla="*/ 289345 h 304030"/>
                  <a:gd name="connsiteX30" fmla="*/ 85797 w 180715"/>
                  <a:gd name="connsiteY30" fmla="*/ 304001 h 30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0715" h="304030">
                    <a:moveTo>
                      <a:pt x="85797" y="304001"/>
                    </a:moveTo>
                    <a:cubicBezTo>
                      <a:pt x="98978" y="290138"/>
                      <a:pt x="111223" y="275422"/>
                      <a:pt x="122452" y="259948"/>
                    </a:cubicBezTo>
                    <a:cubicBezTo>
                      <a:pt x="94504" y="244253"/>
                      <a:pt x="20584" y="212167"/>
                      <a:pt x="20584" y="212167"/>
                    </a:cubicBezTo>
                    <a:cubicBezTo>
                      <a:pt x="26695" y="202529"/>
                      <a:pt x="31939" y="192373"/>
                      <a:pt x="36256" y="181816"/>
                    </a:cubicBezTo>
                    <a:cubicBezTo>
                      <a:pt x="52189" y="185458"/>
                      <a:pt x="112614" y="199940"/>
                      <a:pt x="152490" y="211820"/>
                    </a:cubicBezTo>
                    <a:cubicBezTo>
                      <a:pt x="159381" y="198272"/>
                      <a:pt x="165203" y="184210"/>
                      <a:pt x="169904" y="169762"/>
                    </a:cubicBezTo>
                    <a:cubicBezTo>
                      <a:pt x="128418" y="162633"/>
                      <a:pt x="86507" y="158229"/>
                      <a:pt x="44440" y="156581"/>
                    </a:cubicBezTo>
                    <a:cubicBezTo>
                      <a:pt x="46527" y="148376"/>
                      <a:pt x="47753" y="139978"/>
                      <a:pt x="48097" y="131520"/>
                    </a:cubicBezTo>
                    <a:cubicBezTo>
                      <a:pt x="51580" y="131520"/>
                      <a:pt x="141520" y="126491"/>
                      <a:pt x="179307" y="128485"/>
                    </a:cubicBezTo>
                    <a:cubicBezTo>
                      <a:pt x="180753" y="117416"/>
                      <a:pt x="181045" y="106227"/>
                      <a:pt x="180178" y="95099"/>
                    </a:cubicBezTo>
                    <a:cubicBezTo>
                      <a:pt x="135482" y="97185"/>
                      <a:pt x="91039" y="102987"/>
                      <a:pt x="47313" y="112442"/>
                    </a:cubicBezTo>
                    <a:cubicBezTo>
                      <a:pt x="46465" y="106552"/>
                      <a:pt x="45097" y="100749"/>
                      <a:pt x="43221" y="95099"/>
                    </a:cubicBezTo>
                    <a:cubicBezTo>
                      <a:pt x="85780" y="81295"/>
                      <a:pt x="129485" y="71284"/>
                      <a:pt x="173822" y="65181"/>
                    </a:cubicBezTo>
                    <a:cubicBezTo>
                      <a:pt x="170801" y="56982"/>
                      <a:pt x="166640" y="49247"/>
                      <a:pt x="161458" y="42201"/>
                    </a:cubicBezTo>
                    <a:cubicBezTo>
                      <a:pt x="119306" y="51399"/>
                      <a:pt x="78050" y="64283"/>
                      <a:pt x="38171" y="80704"/>
                    </a:cubicBezTo>
                    <a:lnTo>
                      <a:pt x="37214" y="80704"/>
                    </a:lnTo>
                    <a:cubicBezTo>
                      <a:pt x="34700" y="76476"/>
                      <a:pt x="31784" y="72497"/>
                      <a:pt x="28507" y="68824"/>
                    </a:cubicBezTo>
                    <a:cubicBezTo>
                      <a:pt x="65262" y="50278"/>
                      <a:pt x="103608" y="35042"/>
                      <a:pt x="143087" y="23297"/>
                    </a:cubicBezTo>
                    <a:cubicBezTo>
                      <a:pt x="136786" y="18485"/>
                      <a:pt x="129949" y="14412"/>
                      <a:pt x="122713" y="11157"/>
                    </a:cubicBezTo>
                    <a:cubicBezTo>
                      <a:pt x="86793" y="23950"/>
                      <a:pt x="52281" y="40367"/>
                      <a:pt x="19713" y="60152"/>
                    </a:cubicBezTo>
                    <a:cubicBezTo>
                      <a:pt x="16411" y="57449"/>
                      <a:pt x="12920" y="54986"/>
                      <a:pt x="9265" y="52781"/>
                    </a:cubicBezTo>
                    <a:cubicBezTo>
                      <a:pt x="37490" y="33320"/>
                      <a:pt x="67625" y="16759"/>
                      <a:pt x="99205" y="3352"/>
                    </a:cubicBezTo>
                    <a:cubicBezTo>
                      <a:pt x="91549" y="1667"/>
                      <a:pt x="83780" y="536"/>
                      <a:pt x="75958" y="-30"/>
                    </a:cubicBezTo>
                    <a:cubicBezTo>
                      <a:pt x="49002" y="13183"/>
                      <a:pt x="23523" y="29199"/>
                      <a:pt x="-51" y="47751"/>
                    </a:cubicBezTo>
                    <a:lnTo>
                      <a:pt x="-51" y="47751"/>
                    </a:lnTo>
                    <a:lnTo>
                      <a:pt x="-51" y="67610"/>
                    </a:lnTo>
                    <a:cubicBezTo>
                      <a:pt x="3050" y="69434"/>
                      <a:pt x="5966" y="71554"/>
                      <a:pt x="8656" y="73940"/>
                    </a:cubicBezTo>
                    <a:cubicBezTo>
                      <a:pt x="38258" y="100649"/>
                      <a:pt x="33470" y="155454"/>
                      <a:pt x="-51" y="203235"/>
                    </a:cubicBezTo>
                    <a:lnTo>
                      <a:pt x="-51" y="243385"/>
                    </a:lnTo>
                    <a:lnTo>
                      <a:pt x="66033" y="289345"/>
                    </a:lnTo>
                    <a:cubicBezTo>
                      <a:pt x="72417" y="293855"/>
                      <a:pt x="79006" y="298740"/>
                      <a:pt x="85797" y="304001"/>
                    </a:cubicBezTo>
                    <a:close/>
                  </a:path>
                </a:pathLst>
              </a:custGeom>
              <a:grpFill/>
              <a:ln w="10319" cap="flat">
                <a:noFill/>
                <a:prstDash val="solid"/>
                <a:miter/>
              </a:ln>
            </p:spPr>
            <p:txBody>
              <a:bodyPr rtlCol="0" anchor="ctr"/>
              <a:lstStyle/>
              <a:p>
                <a:endParaRPr lang="en-GB"/>
              </a:p>
            </p:txBody>
          </p:sp>
        </p:grpSp>
      </p:grpSp>
    </p:spTree>
    <p:extLst>
      <p:ext uri="{BB962C8B-B14F-4D97-AF65-F5344CB8AC3E}">
        <p14:creationId xmlns:p14="http://schemas.microsoft.com/office/powerpoint/2010/main" val="117735589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RA Content Slide">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A455BF96-EDC6-BF1D-9B02-8D224416D8B2}"/>
              </a:ext>
            </a:extLst>
          </p:cNvPr>
          <p:cNvSpPr>
            <a:spLocks noGrp="1"/>
          </p:cNvSpPr>
          <p:nvPr>
            <p:ph idx="1"/>
          </p:nvPr>
        </p:nvSpPr>
        <p:spPr>
          <a:xfrm>
            <a:off x="381000" y="1520825"/>
            <a:ext cx="11433175" cy="4575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28B7ABED-858C-78E9-F77A-0E04D5A3A79F}"/>
              </a:ext>
            </a:extLst>
          </p:cNvPr>
          <p:cNvSpPr>
            <a:spLocks noGrp="1"/>
          </p:cNvSpPr>
          <p:nvPr>
            <p:ph type="title"/>
          </p:nvPr>
        </p:nvSpPr>
        <p:spPr/>
        <p:txBody>
          <a:bodyPr/>
          <a:lstStyle/>
          <a:p>
            <a:r>
              <a:rPr lang="en-US"/>
              <a:t>Click to edit Master title style</a:t>
            </a:r>
          </a:p>
        </p:txBody>
      </p:sp>
      <p:sp>
        <p:nvSpPr>
          <p:cNvPr id="9" name="Text Placeholder 8">
            <a:extLst>
              <a:ext uri="{FF2B5EF4-FFF2-40B4-BE49-F238E27FC236}">
                <a16:creationId xmlns:a16="http://schemas.microsoft.com/office/drawing/2014/main" id="{466FCA43-77DF-722B-163B-1D14E251AA78}"/>
              </a:ext>
            </a:extLst>
          </p:cNvPr>
          <p:cNvSpPr>
            <a:spLocks noGrp="1"/>
          </p:cNvSpPr>
          <p:nvPr>
            <p:ph type="body" sz="quarter" idx="14" hasCustomPrompt="1"/>
          </p:nvPr>
        </p:nvSpPr>
        <p:spPr>
          <a:xfrm>
            <a:off x="1157923" y="6473323"/>
            <a:ext cx="6853237" cy="207393"/>
          </a:xfrm>
        </p:spPr>
        <p:txBody>
          <a:bodyPr anchor="t">
            <a:noAutofit/>
          </a:bodyPr>
          <a:lstStyle>
            <a:lvl1pPr marL="0" indent="0">
              <a:spcBef>
                <a:spcPts val="0"/>
              </a:spcBef>
              <a:spcAft>
                <a:spcPts val="0"/>
              </a:spcAft>
              <a:buNone/>
              <a:defRPr lang="en-GB" sz="1000" i="0" smtClean="0">
                <a:solidFill>
                  <a:schemeClr val="tx2"/>
                </a:solidFill>
                <a:effectLst/>
              </a:defRPr>
            </a:lvl1pPr>
            <a:lvl2pPr>
              <a:defRPr sz="1200" b="1">
                <a:solidFill>
                  <a:schemeClr val="bg1">
                    <a:lumMod val="50000"/>
                  </a:schemeClr>
                </a:solidFill>
              </a:defRPr>
            </a:lvl2pPr>
            <a:lvl3pPr>
              <a:defRPr sz="1200" b="1">
                <a:solidFill>
                  <a:schemeClr val="bg1">
                    <a:lumMod val="50000"/>
                  </a:schemeClr>
                </a:solidFill>
              </a:defRPr>
            </a:lvl3pPr>
            <a:lvl4pPr>
              <a:defRPr sz="1200" b="1">
                <a:solidFill>
                  <a:schemeClr val="bg1">
                    <a:lumMod val="50000"/>
                  </a:schemeClr>
                </a:solidFill>
              </a:defRPr>
            </a:lvl4pPr>
            <a:lvl5pPr>
              <a:defRPr sz="1200" b="1">
                <a:solidFill>
                  <a:schemeClr val="bg1">
                    <a:lumMod val="50000"/>
                  </a:schemeClr>
                </a:solidFill>
              </a:defRPr>
            </a:lvl5pPr>
          </a:lstStyle>
          <a:p>
            <a:pPr lvl="0"/>
            <a:r>
              <a:rPr lang="en-GB"/>
              <a:t>Notes: [Note information]      Source: [1. Source information 2. Source information]</a:t>
            </a:r>
          </a:p>
        </p:txBody>
      </p:sp>
      <p:sp>
        <p:nvSpPr>
          <p:cNvPr id="4" name="Footer Placeholder 3">
            <a:extLst>
              <a:ext uri="{FF2B5EF4-FFF2-40B4-BE49-F238E27FC236}">
                <a16:creationId xmlns:a16="http://schemas.microsoft.com/office/drawing/2014/main" id="{F4329558-1E8F-31C3-585C-8B886DB86FE1}"/>
              </a:ext>
            </a:extLst>
          </p:cNvPr>
          <p:cNvSpPr>
            <a:spLocks noGrp="1"/>
          </p:cNvSpPr>
          <p:nvPr>
            <p:ph type="ftr" sz="quarter" idx="15"/>
          </p:nvPr>
        </p:nvSpPr>
        <p:spPr>
          <a:xfrm>
            <a:off x="8023512" y="6473323"/>
            <a:ext cx="3022313" cy="207393"/>
          </a:xfrm>
        </p:spPr>
        <p:txBody>
          <a:bodyPr anchor="t"/>
          <a:lstStyle/>
          <a:p>
            <a:r>
              <a:rPr lang="en-GB"/>
              <a:t>Slide footer </a:t>
            </a:r>
          </a:p>
        </p:txBody>
      </p:sp>
      <p:sp>
        <p:nvSpPr>
          <p:cNvPr id="5" name="Slide Number Placeholder 4">
            <a:extLst>
              <a:ext uri="{FF2B5EF4-FFF2-40B4-BE49-F238E27FC236}">
                <a16:creationId xmlns:a16="http://schemas.microsoft.com/office/drawing/2014/main" id="{A1439660-13FC-80EC-B909-6A13C5AC3A17}"/>
              </a:ext>
            </a:extLst>
          </p:cNvPr>
          <p:cNvSpPr>
            <a:spLocks noGrp="1"/>
          </p:cNvSpPr>
          <p:nvPr>
            <p:ph type="sldNum" sz="quarter" idx="16"/>
          </p:nvPr>
        </p:nvSpPr>
        <p:spPr/>
        <p:txBody>
          <a:bodyPr/>
          <a:lstStyle/>
          <a:p>
            <a:fld id="{24FD2396-7F2C-D741-B592-F93892A44B62}" type="slidenum">
              <a:rPr lang="en-GB" smtClean="0"/>
              <a:pPr/>
              <a:t>‹#›</a:t>
            </a:fld>
            <a:endParaRPr lang="en-GB"/>
          </a:p>
        </p:txBody>
      </p:sp>
      <p:sp>
        <p:nvSpPr>
          <p:cNvPr id="11" name="Text Placeholder 10">
            <a:extLst>
              <a:ext uri="{FF2B5EF4-FFF2-40B4-BE49-F238E27FC236}">
                <a16:creationId xmlns:a16="http://schemas.microsoft.com/office/drawing/2014/main" id="{8535BF2E-6AEB-C846-6CD7-DADDCAF4CCA1}"/>
              </a:ext>
            </a:extLst>
          </p:cNvPr>
          <p:cNvSpPr>
            <a:spLocks noGrp="1"/>
          </p:cNvSpPr>
          <p:nvPr>
            <p:ph type="body" sz="quarter" idx="17"/>
          </p:nvPr>
        </p:nvSpPr>
        <p:spPr>
          <a:xfrm>
            <a:off x="381000" y="788988"/>
            <a:ext cx="5611813" cy="354012"/>
          </a:xfrm>
        </p:spPr>
        <p:txBody>
          <a:bodyPr>
            <a:noAutofit/>
          </a:bodyPr>
          <a:lstStyle>
            <a:lvl1pPr marL="0" indent="0" algn="l" defTabSz="914400" rtl="0" eaLnBrk="1" latinLnBrk="0" hangingPunct="1">
              <a:lnSpc>
                <a:spcPct val="90000"/>
              </a:lnSpc>
              <a:spcBef>
                <a:spcPct val="0"/>
              </a:spcBef>
              <a:buNone/>
              <a:defRPr lang="en-US" sz="2400" i="0" kern="1200" dirty="0">
                <a:solidFill>
                  <a:schemeClr val="tx1"/>
                </a:solidFill>
                <a:latin typeface="+mj-lt"/>
                <a:ea typeface="+mj-ea"/>
                <a:cs typeface="+mj-cs"/>
              </a:defRPr>
            </a:lvl1pPr>
          </a:lstStyle>
          <a:p>
            <a:pPr lvl="0"/>
            <a:r>
              <a:rPr lang="en-US"/>
              <a:t>Click to edit</a:t>
            </a:r>
          </a:p>
        </p:txBody>
      </p:sp>
    </p:spTree>
    <p:extLst>
      <p:ext uri="{BB962C8B-B14F-4D97-AF65-F5344CB8AC3E}">
        <p14:creationId xmlns:p14="http://schemas.microsoft.com/office/powerpoint/2010/main" val="36074941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3 - orange">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754062" y="6080418"/>
            <a:ext cx="2021222" cy="432677"/>
          </a:xfrm>
          <a:prstGeom prst="rect">
            <a:avLst/>
          </a:prstGeom>
        </p:spPr>
        <p:txBody>
          <a:bodyPr/>
          <a:lstStyle>
            <a:lvl1pPr marL="0" indent="0">
              <a:buNone/>
              <a:defRPr sz="1800" b="1" spc="300">
                <a:solidFill>
                  <a:schemeClr val="bg1"/>
                </a:solidFill>
              </a:defRPr>
            </a:lvl1pPr>
            <a:lvl3pPr marL="914400" indent="0" algn="l">
              <a:buFont typeface="Arial" panose="020B0604020202020204" pitchFamily="34" charset="0"/>
              <a:buNone/>
              <a:defRPr/>
            </a:lvl3pPr>
          </a:lstStyle>
          <a:p>
            <a:pPr lvl="0"/>
            <a:r>
              <a:rPr lang="en-US"/>
              <a:t>MONTH 2024</a:t>
            </a:r>
          </a:p>
        </p:txBody>
      </p:sp>
      <p:sp>
        <p:nvSpPr>
          <p:cNvPr id="2" name="Text Placeholder 9">
            <a:extLst>
              <a:ext uri="{FF2B5EF4-FFF2-40B4-BE49-F238E27FC236}">
                <a16:creationId xmlns:a16="http://schemas.microsoft.com/office/drawing/2014/main" id="{183D4F33-6888-DA4B-0201-F604FCC31187}"/>
              </a:ext>
            </a:extLst>
          </p:cNvPr>
          <p:cNvSpPr>
            <a:spLocks noGrp="1"/>
          </p:cNvSpPr>
          <p:nvPr>
            <p:ph type="body" sz="quarter" idx="13" hasCustomPrompt="1"/>
          </p:nvPr>
        </p:nvSpPr>
        <p:spPr>
          <a:xfrm>
            <a:off x="762418" y="4547937"/>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3" name="Text Placeholder 12">
            <a:extLst>
              <a:ext uri="{FF2B5EF4-FFF2-40B4-BE49-F238E27FC236}">
                <a16:creationId xmlns:a16="http://schemas.microsoft.com/office/drawing/2014/main" id="{DCCF9B7F-6200-57BA-9418-F486917F2D3F}"/>
              </a:ext>
            </a:extLst>
          </p:cNvPr>
          <p:cNvSpPr>
            <a:spLocks noGrp="1"/>
          </p:cNvSpPr>
          <p:nvPr>
            <p:ph type="body" sz="quarter" idx="14" hasCustomPrompt="1"/>
          </p:nvPr>
        </p:nvSpPr>
        <p:spPr>
          <a:xfrm>
            <a:off x="762418" y="5142297"/>
            <a:ext cx="8694738"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cxnSp>
        <p:nvCxnSpPr>
          <p:cNvPr id="4" name="Straight Connector 3">
            <a:extLst>
              <a:ext uri="{FF2B5EF4-FFF2-40B4-BE49-F238E27FC236}">
                <a16:creationId xmlns:a16="http://schemas.microsoft.com/office/drawing/2014/main" id="{80F5791E-E5A0-BB60-8A49-2EFC0F8381F3}"/>
              </a:ext>
            </a:extLst>
          </p:cNvPr>
          <p:cNvCxnSpPr/>
          <p:nvPr userDrawn="1"/>
        </p:nvCxnSpPr>
        <p:spPr>
          <a:xfrm>
            <a:off x="866080" y="5986321"/>
            <a:ext cx="640080" cy="0"/>
          </a:xfrm>
          <a:prstGeom prst="line">
            <a:avLst/>
          </a:prstGeom>
          <a:ln w="76200">
            <a:solidFill>
              <a:srgbClr val="E35B2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84653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3 - blue">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754062" y="6080418"/>
            <a:ext cx="2021222" cy="432677"/>
          </a:xfrm>
          <a:prstGeom prst="rect">
            <a:avLst/>
          </a:prstGeom>
        </p:spPr>
        <p:txBody>
          <a:bodyPr/>
          <a:lstStyle>
            <a:lvl1pPr marL="0" indent="0">
              <a:buNone/>
              <a:defRPr sz="1800" b="1" spc="300">
                <a:solidFill>
                  <a:schemeClr val="bg1"/>
                </a:solidFill>
              </a:defRPr>
            </a:lvl1pPr>
            <a:lvl3pPr marL="914400" indent="0" algn="l">
              <a:buFont typeface="Arial" panose="020B0604020202020204" pitchFamily="34" charset="0"/>
              <a:buNone/>
              <a:defRPr/>
            </a:lvl3pPr>
          </a:lstStyle>
          <a:p>
            <a:pPr lvl="0"/>
            <a:r>
              <a:rPr lang="en-US"/>
              <a:t>MONTH 2024</a:t>
            </a:r>
          </a:p>
        </p:txBody>
      </p:sp>
      <p:sp>
        <p:nvSpPr>
          <p:cNvPr id="2" name="Text Placeholder 9">
            <a:extLst>
              <a:ext uri="{FF2B5EF4-FFF2-40B4-BE49-F238E27FC236}">
                <a16:creationId xmlns:a16="http://schemas.microsoft.com/office/drawing/2014/main" id="{183D4F33-6888-DA4B-0201-F604FCC31187}"/>
              </a:ext>
            </a:extLst>
          </p:cNvPr>
          <p:cNvSpPr>
            <a:spLocks noGrp="1"/>
          </p:cNvSpPr>
          <p:nvPr>
            <p:ph type="body" sz="quarter" idx="13" hasCustomPrompt="1"/>
          </p:nvPr>
        </p:nvSpPr>
        <p:spPr>
          <a:xfrm>
            <a:off x="762418" y="4547937"/>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3" name="Text Placeholder 12">
            <a:extLst>
              <a:ext uri="{FF2B5EF4-FFF2-40B4-BE49-F238E27FC236}">
                <a16:creationId xmlns:a16="http://schemas.microsoft.com/office/drawing/2014/main" id="{DCCF9B7F-6200-57BA-9418-F486917F2D3F}"/>
              </a:ext>
            </a:extLst>
          </p:cNvPr>
          <p:cNvSpPr>
            <a:spLocks noGrp="1"/>
          </p:cNvSpPr>
          <p:nvPr>
            <p:ph type="body" sz="quarter" idx="14" hasCustomPrompt="1"/>
          </p:nvPr>
        </p:nvSpPr>
        <p:spPr>
          <a:xfrm>
            <a:off x="762418" y="5142297"/>
            <a:ext cx="8694738"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cxnSp>
        <p:nvCxnSpPr>
          <p:cNvPr id="4" name="Straight Connector 3">
            <a:extLst>
              <a:ext uri="{FF2B5EF4-FFF2-40B4-BE49-F238E27FC236}">
                <a16:creationId xmlns:a16="http://schemas.microsoft.com/office/drawing/2014/main" id="{80F5791E-E5A0-BB60-8A49-2EFC0F8381F3}"/>
              </a:ext>
            </a:extLst>
          </p:cNvPr>
          <p:cNvCxnSpPr/>
          <p:nvPr userDrawn="1"/>
        </p:nvCxnSpPr>
        <p:spPr>
          <a:xfrm>
            <a:off x="866080" y="5986321"/>
            <a:ext cx="640080" cy="0"/>
          </a:xfrm>
          <a:prstGeom prst="line">
            <a:avLst/>
          </a:prstGeom>
          <a:ln w="76200">
            <a:solidFill>
              <a:srgbClr val="8C9EB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92747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4 - GREEN - Image WHITE logo">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3" name="Picture Placeholder 2">
            <a:extLst>
              <a:ext uri="{FF2B5EF4-FFF2-40B4-BE49-F238E27FC236}">
                <a16:creationId xmlns:a16="http://schemas.microsoft.com/office/drawing/2014/main" id="{E3A906D3-8A54-1DE5-31B0-CCE09DD8E77C}"/>
              </a:ext>
            </a:extLst>
          </p:cNvPr>
          <p:cNvSpPr>
            <a:spLocks noGrp="1"/>
          </p:cNvSpPr>
          <p:nvPr>
            <p:ph type="pic" sz="quarter" idx="15"/>
          </p:nvPr>
        </p:nvSpPr>
        <p:spPr>
          <a:xfrm>
            <a:off x="8647113" y="-16042"/>
            <a:ext cx="3544887" cy="6922168"/>
          </a:xfrm>
          <a:custGeom>
            <a:avLst/>
            <a:gdLst>
              <a:gd name="connsiteX0" fmla="*/ 0 w 3544887"/>
              <a:gd name="connsiteY0" fmla="*/ 0 h 6858000"/>
              <a:gd name="connsiteX1" fmla="*/ 3544887 w 3544887"/>
              <a:gd name="connsiteY1" fmla="*/ 0 h 6858000"/>
              <a:gd name="connsiteX2" fmla="*/ 3544887 w 3544887"/>
              <a:gd name="connsiteY2" fmla="*/ 6858000 h 6858000"/>
              <a:gd name="connsiteX3" fmla="*/ 0 w 3544887"/>
              <a:gd name="connsiteY3" fmla="*/ 6858000 h 6858000"/>
              <a:gd name="connsiteX4" fmla="*/ 0 w 3544887"/>
              <a:gd name="connsiteY4" fmla="*/ 0 h 6858000"/>
              <a:gd name="connsiteX0" fmla="*/ 0 w 3544887"/>
              <a:gd name="connsiteY0" fmla="*/ 0 h 6922168"/>
              <a:gd name="connsiteX1" fmla="*/ 3544887 w 3544887"/>
              <a:gd name="connsiteY1" fmla="*/ 0 h 6922168"/>
              <a:gd name="connsiteX2" fmla="*/ 3544887 w 3544887"/>
              <a:gd name="connsiteY2" fmla="*/ 6858000 h 6922168"/>
              <a:gd name="connsiteX3" fmla="*/ 1187116 w 3544887"/>
              <a:gd name="connsiteY3" fmla="*/ 6922168 h 6922168"/>
              <a:gd name="connsiteX4" fmla="*/ 0 w 3544887"/>
              <a:gd name="connsiteY4" fmla="*/ 0 h 692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887" h="6922168">
                <a:moveTo>
                  <a:pt x="0" y="0"/>
                </a:moveTo>
                <a:lnTo>
                  <a:pt x="3544887" y="0"/>
                </a:lnTo>
                <a:lnTo>
                  <a:pt x="3544887" y="6858000"/>
                </a:lnTo>
                <a:lnTo>
                  <a:pt x="1187116" y="6922168"/>
                </a:lnTo>
                <a:lnTo>
                  <a:pt x="0" y="0"/>
                </a:lnTo>
                <a:close/>
              </a:path>
            </a:pathLst>
          </a:custGeom>
        </p:spPr>
        <p:txBody>
          <a:bodyPr/>
          <a:lstStyle>
            <a:lvl1pPr marL="0" indent="0" algn="ctr">
              <a:buNone/>
              <a:defRPr sz="2000" b="1" i="1"/>
            </a:lvl1pPr>
          </a:lstStyle>
          <a:p>
            <a:endParaRPr lang="en-US"/>
          </a:p>
          <a:p>
            <a:endParaRPr lang="en-US"/>
          </a:p>
          <a:p>
            <a:endParaRPr lang="en-US"/>
          </a:p>
          <a:p>
            <a:endParaRPr lang="en-US"/>
          </a:p>
          <a:p>
            <a:br>
              <a:rPr lang="en-US"/>
            </a:br>
            <a:br>
              <a:rPr lang="en-US"/>
            </a:br>
            <a:br>
              <a:rPr lang="en-US"/>
            </a:br>
            <a:r>
              <a:rPr lang="en-US"/>
              <a:t>       Click to replace image with      </a:t>
            </a:r>
            <a:br>
              <a:rPr lang="en-US"/>
            </a:br>
            <a:r>
              <a:rPr lang="en-US"/>
              <a:t>        your own. Or keep as is.</a:t>
            </a:r>
          </a:p>
        </p:txBody>
      </p:sp>
      <p:pic>
        <p:nvPicPr>
          <p:cNvPr id="13" name="Picture 12" descr="A black and white logo&#10;&#10;Description automatically generated">
            <a:extLst>
              <a:ext uri="{FF2B5EF4-FFF2-40B4-BE49-F238E27FC236}">
                <a16:creationId xmlns:a16="http://schemas.microsoft.com/office/drawing/2014/main" id="{4A63C94D-302D-2C1F-951E-4472526EA3A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33188" y="-6670"/>
            <a:ext cx="565288" cy="565288"/>
          </a:xfrm>
          <a:prstGeom prst="rect">
            <a:avLst/>
          </a:prstGeom>
        </p:spPr>
      </p:pic>
      <p:sp>
        <p:nvSpPr>
          <p:cNvPr id="2" name="Text Placeholder 10">
            <a:extLst>
              <a:ext uri="{FF2B5EF4-FFF2-40B4-BE49-F238E27FC236}">
                <a16:creationId xmlns:a16="http://schemas.microsoft.com/office/drawing/2014/main" id="{8130B2CB-A7DB-568E-E6DF-132A1E5593C5}"/>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13721710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4 - GREEN - Image VIOLET logo">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3" name="Picture Placeholder 2">
            <a:extLst>
              <a:ext uri="{FF2B5EF4-FFF2-40B4-BE49-F238E27FC236}">
                <a16:creationId xmlns:a16="http://schemas.microsoft.com/office/drawing/2014/main" id="{E3A906D3-8A54-1DE5-31B0-CCE09DD8E77C}"/>
              </a:ext>
            </a:extLst>
          </p:cNvPr>
          <p:cNvSpPr>
            <a:spLocks noGrp="1"/>
          </p:cNvSpPr>
          <p:nvPr>
            <p:ph type="pic" sz="quarter" idx="15"/>
          </p:nvPr>
        </p:nvSpPr>
        <p:spPr>
          <a:xfrm>
            <a:off x="8647113" y="-16042"/>
            <a:ext cx="3544887" cy="6922168"/>
          </a:xfrm>
          <a:custGeom>
            <a:avLst/>
            <a:gdLst>
              <a:gd name="connsiteX0" fmla="*/ 0 w 3544887"/>
              <a:gd name="connsiteY0" fmla="*/ 0 h 6858000"/>
              <a:gd name="connsiteX1" fmla="*/ 3544887 w 3544887"/>
              <a:gd name="connsiteY1" fmla="*/ 0 h 6858000"/>
              <a:gd name="connsiteX2" fmla="*/ 3544887 w 3544887"/>
              <a:gd name="connsiteY2" fmla="*/ 6858000 h 6858000"/>
              <a:gd name="connsiteX3" fmla="*/ 0 w 3544887"/>
              <a:gd name="connsiteY3" fmla="*/ 6858000 h 6858000"/>
              <a:gd name="connsiteX4" fmla="*/ 0 w 3544887"/>
              <a:gd name="connsiteY4" fmla="*/ 0 h 6858000"/>
              <a:gd name="connsiteX0" fmla="*/ 0 w 3544887"/>
              <a:gd name="connsiteY0" fmla="*/ 0 h 6922168"/>
              <a:gd name="connsiteX1" fmla="*/ 3544887 w 3544887"/>
              <a:gd name="connsiteY1" fmla="*/ 0 h 6922168"/>
              <a:gd name="connsiteX2" fmla="*/ 3544887 w 3544887"/>
              <a:gd name="connsiteY2" fmla="*/ 6858000 h 6922168"/>
              <a:gd name="connsiteX3" fmla="*/ 1187116 w 3544887"/>
              <a:gd name="connsiteY3" fmla="*/ 6922168 h 6922168"/>
              <a:gd name="connsiteX4" fmla="*/ 0 w 3544887"/>
              <a:gd name="connsiteY4" fmla="*/ 0 h 692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887" h="6922168">
                <a:moveTo>
                  <a:pt x="0" y="0"/>
                </a:moveTo>
                <a:lnTo>
                  <a:pt x="3544887" y="0"/>
                </a:lnTo>
                <a:lnTo>
                  <a:pt x="3544887" y="6858000"/>
                </a:lnTo>
                <a:lnTo>
                  <a:pt x="1187116" y="6922168"/>
                </a:lnTo>
                <a:lnTo>
                  <a:pt x="0" y="0"/>
                </a:lnTo>
                <a:close/>
              </a:path>
            </a:pathLst>
          </a:custGeom>
        </p:spPr>
        <p:txBody>
          <a:bodyPr/>
          <a:lstStyle>
            <a:lvl1pPr marL="0" indent="0" algn="ctr">
              <a:buNone/>
              <a:defRPr sz="2000" b="1" i="1"/>
            </a:lvl1pPr>
          </a:lstStyle>
          <a:p>
            <a:endParaRPr lang="en-US"/>
          </a:p>
          <a:p>
            <a:endParaRPr lang="en-US"/>
          </a:p>
          <a:p>
            <a:endParaRPr lang="en-US"/>
          </a:p>
          <a:p>
            <a:endParaRPr lang="en-US"/>
          </a:p>
          <a:p>
            <a:br>
              <a:rPr lang="en-US"/>
            </a:br>
            <a:br>
              <a:rPr lang="en-US"/>
            </a:br>
            <a:br>
              <a:rPr lang="en-US"/>
            </a:br>
            <a:r>
              <a:rPr lang="en-US"/>
              <a:t>       Click to replace image with      </a:t>
            </a:r>
            <a:br>
              <a:rPr lang="en-US"/>
            </a:br>
            <a:r>
              <a:rPr lang="en-US"/>
              <a:t>        your own. Or keep as is.</a:t>
            </a:r>
          </a:p>
        </p:txBody>
      </p:sp>
      <p:pic>
        <p:nvPicPr>
          <p:cNvPr id="2" name="Picture 1">
            <a:extLst>
              <a:ext uri="{FF2B5EF4-FFF2-40B4-BE49-F238E27FC236}">
                <a16:creationId xmlns:a16="http://schemas.microsoft.com/office/drawing/2014/main" id="{8FEFCD1F-1471-934C-C97A-639E41F15A5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017286" y="-16562"/>
            <a:ext cx="565288" cy="565288"/>
          </a:xfrm>
          <a:prstGeom prst="rect">
            <a:avLst/>
          </a:prstGeom>
        </p:spPr>
      </p:pic>
      <p:sp>
        <p:nvSpPr>
          <p:cNvPr id="5" name="Text Placeholder 10">
            <a:extLst>
              <a:ext uri="{FF2B5EF4-FFF2-40B4-BE49-F238E27FC236}">
                <a16:creationId xmlns:a16="http://schemas.microsoft.com/office/drawing/2014/main" id="{01832E95-A96F-413C-93E4-0153A86A0834}"/>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40416582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 - ORANGE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5C31418A-8F8E-263B-4C17-1F834EBA96AB}"/>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E35B2A"/>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29587364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 - ORANG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2" name="Text Placeholder 8">
            <a:extLst>
              <a:ext uri="{FF2B5EF4-FFF2-40B4-BE49-F238E27FC236}">
                <a16:creationId xmlns:a16="http://schemas.microsoft.com/office/drawing/2014/main" id="{6240A90C-36DE-9065-E842-293002EF4399}"/>
              </a:ext>
            </a:extLst>
          </p:cNvPr>
          <p:cNvSpPr>
            <a:spLocks noGrp="1"/>
          </p:cNvSpPr>
          <p:nvPr>
            <p:ph type="body" sz="quarter" idx="17" hasCustomPrompt="1"/>
          </p:nvPr>
        </p:nvSpPr>
        <p:spPr>
          <a:xfrm>
            <a:off x="770439" y="4081081"/>
            <a:ext cx="2274887" cy="578319"/>
          </a:xfrm>
          <a:prstGeom prst="rect">
            <a:avLst/>
          </a:prstGeom>
        </p:spPr>
        <p:txBody>
          <a:bodyPr/>
          <a:lstStyle>
            <a:lvl1pPr marL="0" indent="0" algn="ctr">
              <a:buNone/>
              <a:defRPr sz="1400" b="1"/>
            </a:lvl1pPr>
          </a:lstStyle>
          <a:p>
            <a:pPr lvl="0"/>
            <a:r>
              <a:rPr lang="en-US"/>
              <a:t>Sample Sub Head Title Caps and 14pt Size</a:t>
            </a:r>
          </a:p>
        </p:txBody>
      </p:sp>
      <p:sp>
        <p:nvSpPr>
          <p:cNvPr id="3" name="Text Placeholder 8">
            <a:extLst>
              <a:ext uri="{FF2B5EF4-FFF2-40B4-BE49-F238E27FC236}">
                <a16:creationId xmlns:a16="http://schemas.microsoft.com/office/drawing/2014/main" id="{9EDCDD1E-280C-845E-14BD-8F6416852B61}"/>
              </a:ext>
            </a:extLst>
          </p:cNvPr>
          <p:cNvSpPr>
            <a:spLocks noGrp="1"/>
          </p:cNvSpPr>
          <p:nvPr>
            <p:ph type="body" sz="quarter" idx="18" hasCustomPrompt="1"/>
          </p:nvPr>
        </p:nvSpPr>
        <p:spPr>
          <a:xfrm>
            <a:off x="3341948" y="4089803"/>
            <a:ext cx="2274887" cy="578319"/>
          </a:xfrm>
          <a:prstGeom prst="rect">
            <a:avLst/>
          </a:prstGeom>
        </p:spPr>
        <p:txBody>
          <a:bodyPr/>
          <a:lstStyle>
            <a:lvl1pPr marL="0" indent="0" algn="ctr">
              <a:buNone/>
              <a:defRPr sz="1400" b="1"/>
            </a:lvl1pPr>
          </a:lstStyle>
          <a:p>
            <a:pPr lvl="0"/>
            <a:r>
              <a:rPr lang="en-US"/>
              <a:t>Sample Sub Head Title Caps and 14pt Size</a:t>
            </a:r>
          </a:p>
        </p:txBody>
      </p:sp>
      <p:sp>
        <p:nvSpPr>
          <p:cNvPr id="5" name="Text Placeholder 8">
            <a:extLst>
              <a:ext uri="{FF2B5EF4-FFF2-40B4-BE49-F238E27FC236}">
                <a16:creationId xmlns:a16="http://schemas.microsoft.com/office/drawing/2014/main" id="{57789556-7CFA-CCF2-A1A6-87C4744DAE3A}"/>
              </a:ext>
            </a:extLst>
          </p:cNvPr>
          <p:cNvSpPr>
            <a:spLocks noGrp="1"/>
          </p:cNvSpPr>
          <p:nvPr>
            <p:ph type="body" sz="quarter" idx="19" hasCustomPrompt="1"/>
          </p:nvPr>
        </p:nvSpPr>
        <p:spPr>
          <a:xfrm>
            <a:off x="5913457" y="4081080"/>
            <a:ext cx="2274887" cy="578319"/>
          </a:xfrm>
          <a:prstGeom prst="rect">
            <a:avLst/>
          </a:prstGeom>
        </p:spPr>
        <p:txBody>
          <a:bodyPr/>
          <a:lstStyle>
            <a:lvl1pPr marL="0" indent="0" algn="ctr">
              <a:buNone/>
              <a:defRPr sz="1400" b="1"/>
            </a:lvl1pPr>
          </a:lstStyle>
          <a:p>
            <a:pPr lvl="0"/>
            <a:r>
              <a:rPr lang="en-US"/>
              <a:t>Sample Sub Head Title Caps and 14pt Size</a:t>
            </a:r>
          </a:p>
        </p:txBody>
      </p:sp>
      <p:sp>
        <p:nvSpPr>
          <p:cNvPr id="6" name="Text Placeholder 8">
            <a:extLst>
              <a:ext uri="{FF2B5EF4-FFF2-40B4-BE49-F238E27FC236}">
                <a16:creationId xmlns:a16="http://schemas.microsoft.com/office/drawing/2014/main" id="{CC78DFB7-6347-535D-34AE-87AB9F437B51}"/>
              </a:ext>
            </a:extLst>
          </p:cNvPr>
          <p:cNvSpPr>
            <a:spLocks noGrp="1"/>
          </p:cNvSpPr>
          <p:nvPr>
            <p:ph type="body" sz="quarter" idx="20" hasCustomPrompt="1"/>
          </p:nvPr>
        </p:nvSpPr>
        <p:spPr>
          <a:xfrm>
            <a:off x="8484966" y="4089803"/>
            <a:ext cx="2274887" cy="578319"/>
          </a:xfrm>
          <a:prstGeom prst="rect">
            <a:avLst/>
          </a:prstGeom>
        </p:spPr>
        <p:txBody>
          <a:bodyPr/>
          <a:lstStyle>
            <a:lvl1pPr marL="0" indent="0" algn="ctr">
              <a:buNone/>
              <a:defRPr sz="1400" b="1"/>
            </a:lvl1pPr>
          </a:lstStyle>
          <a:p>
            <a:pPr lvl="0"/>
            <a:r>
              <a:rPr lang="en-US"/>
              <a:t>Sample Sub Head Title Caps and 14pt Size</a:t>
            </a:r>
          </a:p>
        </p:txBody>
      </p:sp>
      <p:sp>
        <p:nvSpPr>
          <p:cNvPr id="7" name="Text Placeholder 8">
            <a:extLst>
              <a:ext uri="{FF2B5EF4-FFF2-40B4-BE49-F238E27FC236}">
                <a16:creationId xmlns:a16="http://schemas.microsoft.com/office/drawing/2014/main" id="{B06533FE-59B9-ADBF-4A5D-BA534B11F2D8}"/>
              </a:ext>
            </a:extLst>
          </p:cNvPr>
          <p:cNvSpPr>
            <a:spLocks noGrp="1"/>
          </p:cNvSpPr>
          <p:nvPr>
            <p:ph type="body" sz="quarter" idx="21" hasCustomPrompt="1"/>
          </p:nvPr>
        </p:nvSpPr>
        <p:spPr>
          <a:xfrm>
            <a:off x="770440" y="4587097"/>
            <a:ext cx="2286462" cy="578319"/>
          </a:xfrm>
          <a:prstGeom prst="rect">
            <a:avLst/>
          </a:prstGeom>
        </p:spPr>
        <p:txBody>
          <a:bodyPr/>
          <a:lstStyle>
            <a:lvl1pPr marL="0" indent="0" algn="ctr">
              <a:buNone/>
              <a:defRPr sz="1400" b="0"/>
            </a:lvl1pPr>
          </a:lstStyle>
          <a:p>
            <a:pPr lvl="0"/>
            <a:r>
              <a:rPr lang="en-US"/>
              <a:t>Body copy sentence case and 14pt size</a:t>
            </a:r>
          </a:p>
        </p:txBody>
      </p:sp>
      <p:sp>
        <p:nvSpPr>
          <p:cNvPr id="9" name="Text Placeholder 8">
            <a:extLst>
              <a:ext uri="{FF2B5EF4-FFF2-40B4-BE49-F238E27FC236}">
                <a16:creationId xmlns:a16="http://schemas.microsoft.com/office/drawing/2014/main" id="{97C949B2-60F4-1BEB-3762-B982746D5F02}"/>
              </a:ext>
            </a:extLst>
          </p:cNvPr>
          <p:cNvSpPr>
            <a:spLocks noGrp="1"/>
          </p:cNvSpPr>
          <p:nvPr>
            <p:ph type="body" sz="quarter" idx="22" hasCustomPrompt="1"/>
          </p:nvPr>
        </p:nvSpPr>
        <p:spPr>
          <a:xfrm>
            <a:off x="3330373" y="4604123"/>
            <a:ext cx="2286462" cy="578319"/>
          </a:xfrm>
          <a:prstGeom prst="rect">
            <a:avLst/>
          </a:prstGeom>
        </p:spPr>
        <p:txBody>
          <a:bodyPr/>
          <a:lstStyle>
            <a:lvl1pPr marL="0" indent="0" algn="ctr">
              <a:buNone/>
              <a:defRPr sz="1400" b="0"/>
            </a:lvl1pPr>
          </a:lstStyle>
          <a:p>
            <a:pPr lvl="0"/>
            <a:r>
              <a:rPr lang="en-US"/>
              <a:t>Body copy sentence case and 14pt size</a:t>
            </a:r>
          </a:p>
        </p:txBody>
      </p:sp>
      <p:sp>
        <p:nvSpPr>
          <p:cNvPr id="12" name="Text Placeholder 8">
            <a:extLst>
              <a:ext uri="{FF2B5EF4-FFF2-40B4-BE49-F238E27FC236}">
                <a16:creationId xmlns:a16="http://schemas.microsoft.com/office/drawing/2014/main" id="{B0EE2C00-2992-64A0-9E86-52D837091B19}"/>
              </a:ext>
            </a:extLst>
          </p:cNvPr>
          <p:cNvSpPr>
            <a:spLocks noGrp="1"/>
          </p:cNvSpPr>
          <p:nvPr>
            <p:ph type="body" sz="quarter" idx="23" hasCustomPrompt="1"/>
          </p:nvPr>
        </p:nvSpPr>
        <p:spPr>
          <a:xfrm>
            <a:off x="5913457" y="4587096"/>
            <a:ext cx="2286462" cy="578319"/>
          </a:xfrm>
          <a:prstGeom prst="rect">
            <a:avLst/>
          </a:prstGeom>
        </p:spPr>
        <p:txBody>
          <a:bodyPr/>
          <a:lstStyle>
            <a:lvl1pPr marL="0" indent="0" algn="ctr">
              <a:buNone/>
              <a:defRPr sz="1400" b="0"/>
            </a:lvl1pPr>
          </a:lstStyle>
          <a:p>
            <a:pPr lvl="0"/>
            <a:r>
              <a:rPr lang="en-US"/>
              <a:t>Body copy sentence case and 14pt size</a:t>
            </a:r>
          </a:p>
        </p:txBody>
      </p:sp>
      <p:sp>
        <p:nvSpPr>
          <p:cNvPr id="13" name="Text Placeholder 8">
            <a:extLst>
              <a:ext uri="{FF2B5EF4-FFF2-40B4-BE49-F238E27FC236}">
                <a16:creationId xmlns:a16="http://schemas.microsoft.com/office/drawing/2014/main" id="{F572C860-1B06-3C49-FD47-1143FAB2FD53}"/>
              </a:ext>
            </a:extLst>
          </p:cNvPr>
          <p:cNvSpPr>
            <a:spLocks noGrp="1"/>
          </p:cNvSpPr>
          <p:nvPr>
            <p:ph type="body" sz="quarter" idx="24" hasCustomPrompt="1"/>
          </p:nvPr>
        </p:nvSpPr>
        <p:spPr>
          <a:xfrm>
            <a:off x="8473391" y="4587095"/>
            <a:ext cx="2286462" cy="578319"/>
          </a:xfrm>
          <a:prstGeom prst="rect">
            <a:avLst/>
          </a:prstGeom>
        </p:spPr>
        <p:txBody>
          <a:bodyPr/>
          <a:lstStyle>
            <a:lvl1pPr marL="0" indent="0" algn="ctr">
              <a:buNone/>
              <a:defRPr sz="1400" b="0"/>
            </a:lvl1pPr>
          </a:lstStyle>
          <a:p>
            <a:pPr lvl="0"/>
            <a:r>
              <a:rPr lang="en-US"/>
              <a:t>Body copy sentence case and 14pt size</a:t>
            </a:r>
          </a:p>
        </p:txBody>
      </p:sp>
      <p:pic>
        <p:nvPicPr>
          <p:cNvPr id="17" name="Picture 16">
            <a:extLst>
              <a:ext uri="{FF2B5EF4-FFF2-40B4-BE49-F238E27FC236}">
                <a16:creationId xmlns:a16="http://schemas.microsoft.com/office/drawing/2014/main" id="{4ADB70BD-1A8E-A0DE-8940-70CA09AB6B0B}"/>
              </a:ext>
            </a:extLst>
          </p:cNvPr>
          <p:cNvPicPr>
            <a:picLocks noChangeAspect="1"/>
          </p:cNvPicPr>
          <p:nvPr userDrawn="1"/>
        </p:nvPicPr>
        <p:blipFill>
          <a:blip r:embed="rId2"/>
          <a:stretch>
            <a:fillRect/>
          </a:stretch>
        </p:blipFill>
        <p:spPr>
          <a:xfrm>
            <a:off x="3726044" y="2510822"/>
            <a:ext cx="1595376" cy="1418113"/>
          </a:xfrm>
          <a:prstGeom prst="rect">
            <a:avLst/>
          </a:prstGeom>
        </p:spPr>
      </p:pic>
      <p:pic>
        <p:nvPicPr>
          <p:cNvPr id="18" name="Picture 17">
            <a:extLst>
              <a:ext uri="{FF2B5EF4-FFF2-40B4-BE49-F238E27FC236}">
                <a16:creationId xmlns:a16="http://schemas.microsoft.com/office/drawing/2014/main" id="{7EA4F083-2C21-6318-7763-D550EB0B3789}"/>
              </a:ext>
            </a:extLst>
          </p:cNvPr>
          <p:cNvPicPr>
            <a:picLocks noChangeAspect="1"/>
          </p:cNvPicPr>
          <p:nvPr userDrawn="1"/>
        </p:nvPicPr>
        <p:blipFill>
          <a:blip r:embed="rId3"/>
          <a:stretch>
            <a:fillRect/>
          </a:stretch>
        </p:blipFill>
        <p:spPr>
          <a:xfrm>
            <a:off x="1036942" y="2505056"/>
            <a:ext cx="1520179" cy="1370303"/>
          </a:xfrm>
          <a:prstGeom prst="rect">
            <a:avLst/>
          </a:prstGeom>
        </p:spPr>
      </p:pic>
      <p:pic>
        <p:nvPicPr>
          <p:cNvPr id="19" name="Picture 18" descr="A purple globe with continents in the middle&#10;&#10;Description automatically generated">
            <a:extLst>
              <a:ext uri="{FF2B5EF4-FFF2-40B4-BE49-F238E27FC236}">
                <a16:creationId xmlns:a16="http://schemas.microsoft.com/office/drawing/2014/main" id="{60F6F111-3A82-B5D2-C151-B2842DD52DCA}"/>
              </a:ext>
            </a:extLst>
          </p:cNvPr>
          <p:cNvPicPr>
            <a:picLocks noChangeAspect="1"/>
          </p:cNvPicPr>
          <p:nvPr userDrawn="1"/>
        </p:nvPicPr>
        <p:blipFill>
          <a:blip r:embed="rId4"/>
          <a:stretch>
            <a:fillRect/>
          </a:stretch>
        </p:blipFill>
        <p:spPr>
          <a:xfrm>
            <a:off x="6224364" y="2478314"/>
            <a:ext cx="1653071" cy="1483128"/>
          </a:xfrm>
          <a:prstGeom prst="rect">
            <a:avLst/>
          </a:prstGeom>
        </p:spPr>
      </p:pic>
      <p:pic>
        <p:nvPicPr>
          <p:cNvPr id="20" name="Picture 19">
            <a:extLst>
              <a:ext uri="{FF2B5EF4-FFF2-40B4-BE49-F238E27FC236}">
                <a16:creationId xmlns:a16="http://schemas.microsoft.com/office/drawing/2014/main" id="{E339E702-A106-0599-A4AC-F041A93587EA}"/>
              </a:ext>
            </a:extLst>
          </p:cNvPr>
          <p:cNvPicPr>
            <a:picLocks noChangeAspect="1"/>
          </p:cNvPicPr>
          <p:nvPr userDrawn="1"/>
        </p:nvPicPr>
        <p:blipFill>
          <a:blip r:embed="rId5"/>
          <a:stretch>
            <a:fillRect/>
          </a:stretch>
        </p:blipFill>
        <p:spPr>
          <a:xfrm>
            <a:off x="8988663" y="2621726"/>
            <a:ext cx="1410336" cy="1253633"/>
          </a:xfrm>
          <a:prstGeom prst="rect">
            <a:avLst/>
          </a:prstGeom>
        </p:spPr>
      </p:pic>
    </p:spTree>
    <p:extLst>
      <p:ext uri="{BB962C8B-B14F-4D97-AF65-F5344CB8AC3E}">
        <p14:creationId xmlns:p14="http://schemas.microsoft.com/office/powerpoint/2010/main" val="24354624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1 - ORANGE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ED262956-0B92-2A40-D55F-3B983D3AA9C7}"/>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E35B2A"/>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
        <p:nvSpPr>
          <p:cNvPr id="3" name="Rectangle 2">
            <a:extLst>
              <a:ext uri="{FF2B5EF4-FFF2-40B4-BE49-F238E27FC236}">
                <a16:creationId xmlns:a16="http://schemas.microsoft.com/office/drawing/2014/main" id="{4081E596-2394-077D-84EF-B8507FB016A9}"/>
              </a:ext>
            </a:extLst>
          </p:cNvPr>
          <p:cNvSpPr/>
          <p:nvPr userDrawn="1"/>
        </p:nvSpPr>
        <p:spPr>
          <a:xfrm>
            <a:off x="835269" y="993531"/>
            <a:ext cx="975946" cy="28135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87839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8F13BC-D388-DEA6-FBD8-7A1F9A30E3A6}"/>
              </a:ext>
            </a:extLst>
          </p:cNvPr>
          <p:cNvSpPr>
            <a:spLocks noGrp="1"/>
          </p:cNvSpPr>
          <p:nvPr>
            <p:ph type="dt" sz="half" idx="10"/>
          </p:nvPr>
        </p:nvSpPr>
        <p:spPr/>
        <p:txBody>
          <a:bodyPr/>
          <a:lstStyle/>
          <a:p>
            <a:fld id="{F7BCD5FC-13DF-7947-A2F8-230685ED9D21}" type="datetimeFigureOut">
              <a:rPr lang="en-US" smtClean="0"/>
              <a:t>6/17/2026</a:t>
            </a:fld>
            <a:endParaRPr lang="en-US"/>
          </a:p>
        </p:txBody>
      </p:sp>
      <p:sp>
        <p:nvSpPr>
          <p:cNvPr id="3" name="Footer Placeholder 2">
            <a:extLst>
              <a:ext uri="{FF2B5EF4-FFF2-40B4-BE49-F238E27FC236}">
                <a16:creationId xmlns:a16="http://schemas.microsoft.com/office/drawing/2014/main" id="{771512C5-9DF1-40B4-D3E3-56502DDDFCB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B770F2E-2720-DB77-F2E2-1AA4B9BF00FC}"/>
              </a:ext>
            </a:extLst>
          </p:cNvPr>
          <p:cNvSpPr>
            <a:spLocks noGrp="1"/>
          </p:cNvSpPr>
          <p:nvPr>
            <p:ph type="sldNum" sz="quarter" idx="12"/>
          </p:nvPr>
        </p:nvSpPr>
        <p:spPr/>
        <p:txBody>
          <a:bodyPr/>
          <a:lstStyle/>
          <a:p>
            <a:fld id="{1AD8ADAF-E0A9-C440-BF83-4CE99D685A9D}" type="slidenum">
              <a:rPr lang="en-US" smtClean="0"/>
              <a:t>‹#›</a:t>
            </a:fld>
            <a:endParaRPr lang="en-US"/>
          </a:p>
        </p:txBody>
      </p:sp>
    </p:spTree>
    <p:extLst>
      <p:ext uri="{BB962C8B-B14F-4D97-AF65-F5344CB8AC3E}">
        <p14:creationId xmlns:p14="http://schemas.microsoft.com/office/powerpoint/2010/main" val="33354298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4 - GREEN - Image WHITE logo">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3" name="Picture Placeholder 2">
            <a:extLst>
              <a:ext uri="{FF2B5EF4-FFF2-40B4-BE49-F238E27FC236}">
                <a16:creationId xmlns:a16="http://schemas.microsoft.com/office/drawing/2014/main" id="{E3A906D3-8A54-1DE5-31B0-CCE09DD8E77C}"/>
              </a:ext>
            </a:extLst>
          </p:cNvPr>
          <p:cNvSpPr>
            <a:spLocks noGrp="1"/>
          </p:cNvSpPr>
          <p:nvPr>
            <p:ph type="pic" sz="quarter" idx="15"/>
          </p:nvPr>
        </p:nvSpPr>
        <p:spPr>
          <a:xfrm>
            <a:off x="8647113" y="-16042"/>
            <a:ext cx="3544887" cy="6922168"/>
          </a:xfrm>
          <a:custGeom>
            <a:avLst/>
            <a:gdLst>
              <a:gd name="connsiteX0" fmla="*/ 0 w 3544887"/>
              <a:gd name="connsiteY0" fmla="*/ 0 h 6858000"/>
              <a:gd name="connsiteX1" fmla="*/ 3544887 w 3544887"/>
              <a:gd name="connsiteY1" fmla="*/ 0 h 6858000"/>
              <a:gd name="connsiteX2" fmla="*/ 3544887 w 3544887"/>
              <a:gd name="connsiteY2" fmla="*/ 6858000 h 6858000"/>
              <a:gd name="connsiteX3" fmla="*/ 0 w 3544887"/>
              <a:gd name="connsiteY3" fmla="*/ 6858000 h 6858000"/>
              <a:gd name="connsiteX4" fmla="*/ 0 w 3544887"/>
              <a:gd name="connsiteY4" fmla="*/ 0 h 6858000"/>
              <a:gd name="connsiteX0" fmla="*/ 0 w 3544887"/>
              <a:gd name="connsiteY0" fmla="*/ 0 h 6922168"/>
              <a:gd name="connsiteX1" fmla="*/ 3544887 w 3544887"/>
              <a:gd name="connsiteY1" fmla="*/ 0 h 6922168"/>
              <a:gd name="connsiteX2" fmla="*/ 3544887 w 3544887"/>
              <a:gd name="connsiteY2" fmla="*/ 6858000 h 6922168"/>
              <a:gd name="connsiteX3" fmla="*/ 1187116 w 3544887"/>
              <a:gd name="connsiteY3" fmla="*/ 6922168 h 6922168"/>
              <a:gd name="connsiteX4" fmla="*/ 0 w 3544887"/>
              <a:gd name="connsiteY4" fmla="*/ 0 h 692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887" h="6922168">
                <a:moveTo>
                  <a:pt x="0" y="0"/>
                </a:moveTo>
                <a:lnTo>
                  <a:pt x="3544887" y="0"/>
                </a:lnTo>
                <a:lnTo>
                  <a:pt x="3544887" y="6858000"/>
                </a:lnTo>
                <a:lnTo>
                  <a:pt x="1187116" y="6922168"/>
                </a:lnTo>
                <a:lnTo>
                  <a:pt x="0" y="0"/>
                </a:lnTo>
                <a:close/>
              </a:path>
            </a:pathLst>
          </a:custGeom>
        </p:spPr>
        <p:txBody>
          <a:bodyPr/>
          <a:lstStyle>
            <a:lvl1pPr marL="0" indent="0" algn="ctr">
              <a:buNone/>
              <a:defRPr sz="2000" b="1" i="1"/>
            </a:lvl1pPr>
          </a:lstStyle>
          <a:p>
            <a:endParaRPr lang="en-US"/>
          </a:p>
          <a:p>
            <a:endParaRPr lang="en-US"/>
          </a:p>
          <a:p>
            <a:endParaRPr lang="en-US"/>
          </a:p>
          <a:p>
            <a:endParaRPr lang="en-US"/>
          </a:p>
          <a:p>
            <a:br>
              <a:rPr lang="en-US"/>
            </a:br>
            <a:br>
              <a:rPr lang="en-US"/>
            </a:br>
            <a:br>
              <a:rPr lang="en-US"/>
            </a:br>
            <a:r>
              <a:rPr lang="en-US"/>
              <a:t>       Click to replace image with      </a:t>
            </a:r>
            <a:br>
              <a:rPr lang="en-US"/>
            </a:br>
            <a:r>
              <a:rPr lang="en-US"/>
              <a:t>        your own. Or keep as is.</a:t>
            </a:r>
          </a:p>
        </p:txBody>
      </p:sp>
      <p:pic>
        <p:nvPicPr>
          <p:cNvPr id="13" name="Picture 12" descr="A black and white logo&#10;&#10;Description automatically generated">
            <a:extLst>
              <a:ext uri="{FF2B5EF4-FFF2-40B4-BE49-F238E27FC236}">
                <a16:creationId xmlns:a16="http://schemas.microsoft.com/office/drawing/2014/main" id="{4A63C94D-302D-2C1F-951E-4472526EA3A9}"/>
              </a:ext>
            </a:extLst>
          </p:cNvPr>
          <p:cNvPicPr>
            <a:picLocks noChangeAspect="1"/>
          </p:cNvPicPr>
          <p:nvPr userDrawn="1"/>
        </p:nvPicPr>
        <p:blipFill rotWithShape="1">
          <a:blip r:embed="rId2"/>
          <a:srcRect l="145" r="145"/>
          <a:stretch/>
        </p:blipFill>
        <p:spPr>
          <a:xfrm>
            <a:off x="11033188" y="-6670"/>
            <a:ext cx="565288" cy="565288"/>
          </a:xfrm>
          <a:prstGeom prst="rect">
            <a:avLst/>
          </a:prstGeom>
        </p:spPr>
      </p:pic>
      <p:sp>
        <p:nvSpPr>
          <p:cNvPr id="2" name="Text Placeholder 10">
            <a:extLst>
              <a:ext uri="{FF2B5EF4-FFF2-40B4-BE49-F238E27FC236}">
                <a16:creationId xmlns:a16="http://schemas.microsoft.com/office/drawing/2014/main" id="{8130B2CB-A7DB-568E-E6DF-132A1E5593C5}"/>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32194407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1 - orang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2390692" y="946484"/>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13" name="Text Placeholder 12">
            <a:extLst>
              <a:ext uri="{FF2B5EF4-FFF2-40B4-BE49-F238E27FC236}">
                <a16:creationId xmlns:a16="http://schemas.microsoft.com/office/drawing/2014/main" id="{D012BFE2-0CCB-578A-559A-8D1EB54F565C}"/>
              </a:ext>
            </a:extLst>
          </p:cNvPr>
          <p:cNvSpPr>
            <a:spLocks noGrp="1"/>
          </p:cNvSpPr>
          <p:nvPr>
            <p:ph type="body" sz="quarter" idx="11" hasCustomPrompt="1"/>
          </p:nvPr>
        </p:nvSpPr>
        <p:spPr>
          <a:xfrm>
            <a:off x="2390692" y="1540844"/>
            <a:ext cx="8694738"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625726" y="6064376"/>
            <a:ext cx="2021222" cy="432677"/>
          </a:xfrm>
          <a:prstGeom prst="rect">
            <a:avLst/>
          </a:prstGeom>
        </p:spPr>
        <p:txBody>
          <a:bodyPr/>
          <a:lstStyle>
            <a:lvl1pPr marL="0" indent="0">
              <a:buNone/>
              <a:defRPr sz="1800" b="1" spc="300">
                <a:solidFill>
                  <a:schemeClr val="bg1"/>
                </a:solidFill>
              </a:defRPr>
            </a:lvl1pPr>
            <a:lvl3pPr marL="914400" indent="0" algn="l">
              <a:buFont typeface="Arial" panose="020B0604020202020204" pitchFamily="34" charset="0"/>
              <a:buNone/>
              <a:defRPr/>
            </a:lvl3pPr>
          </a:lstStyle>
          <a:p>
            <a:pPr lvl="0"/>
            <a:r>
              <a:rPr lang="en-US"/>
              <a:t>MONTH 2024</a:t>
            </a:r>
          </a:p>
        </p:txBody>
      </p:sp>
      <p:cxnSp>
        <p:nvCxnSpPr>
          <p:cNvPr id="2" name="Straight Connector 1">
            <a:extLst>
              <a:ext uri="{FF2B5EF4-FFF2-40B4-BE49-F238E27FC236}">
                <a16:creationId xmlns:a16="http://schemas.microsoft.com/office/drawing/2014/main" id="{B5590243-0B56-53E5-E3C6-D02EFE2FA9C2}"/>
              </a:ext>
            </a:extLst>
          </p:cNvPr>
          <p:cNvCxnSpPr/>
          <p:nvPr userDrawn="1"/>
        </p:nvCxnSpPr>
        <p:spPr>
          <a:xfrm>
            <a:off x="721526" y="5874026"/>
            <a:ext cx="640080" cy="0"/>
          </a:xfrm>
          <a:prstGeom prst="line">
            <a:avLst/>
          </a:prstGeom>
          <a:ln w="76200">
            <a:solidFill>
              <a:srgbClr val="E35B2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53093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1 - orang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2390692" y="946484"/>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13" name="Text Placeholder 12">
            <a:extLst>
              <a:ext uri="{FF2B5EF4-FFF2-40B4-BE49-F238E27FC236}">
                <a16:creationId xmlns:a16="http://schemas.microsoft.com/office/drawing/2014/main" id="{D012BFE2-0CCB-578A-559A-8D1EB54F565C}"/>
              </a:ext>
            </a:extLst>
          </p:cNvPr>
          <p:cNvSpPr>
            <a:spLocks noGrp="1"/>
          </p:cNvSpPr>
          <p:nvPr>
            <p:ph type="body" sz="quarter" idx="11" hasCustomPrompt="1"/>
          </p:nvPr>
        </p:nvSpPr>
        <p:spPr>
          <a:xfrm>
            <a:off x="2390692" y="1540844"/>
            <a:ext cx="8694738"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625726" y="6064376"/>
            <a:ext cx="2021222" cy="432677"/>
          </a:xfrm>
          <a:prstGeom prst="rect">
            <a:avLst/>
          </a:prstGeom>
        </p:spPr>
        <p:txBody>
          <a:bodyPr/>
          <a:lstStyle>
            <a:lvl1pPr marL="0" indent="0">
              <a:buNone/>
              <a:defRPr sz="1800" b="1" spc="300">
                <a:solidFill>
                  <a:schemeClr val="bg1"/>
                </a:solidFill>
              </a:defRPr>
            </a:lvl1pPr>
            <a:lvl3pPr marL="914400" indent="0" algn="l">
              <a:buFont typeface="Arial" panose="020B0604020202020204" pitchFamily="34" charset="0"/>
              <a:buNone/>
              <a:defRPr/>
            </a:lvl3pPr>
          </a:lstStyle>
          <a:p>
            <a:pPr lvl="0"/>
            <a:r>
              <a:rPr lang="en-US"/>
              <a:t>MONTH 2024</a:t>
            </a:r>
          </a:p>
        </p:txBody>
      </p:sp>
      <p:cxnSp>
        <p:nvCxnSpPr>
          <p:cNvPr id="2" name="Straight Connector 1">
            <a:extLst>
              <a:ext uri="{FF2B5EF4-FFF2-40B4-BE49-F238E27FC236}">
                <a16:creationId xmlns:a16="http://schemas.microsoft.com/office/drawing/2014/main" id="{B5590243-0B56-53E5-E3C6-D02EFE2FA9C2}"/>
              </a:ext>
            </a:extLst>
          </p:cNvPr>
          <p:cNvCxnSpPr/>
          <p:nvPr userDrawn="1"/>
        </p:nvCxnSpPr>
        <p:spPr>
          <a:xfrm>
            <a:off x="721526" y="5874026"/>
            <a:ext cx="640080" cy="0"/>
          </a:xfrm>
          <a:prstGeom prst="line">
            <a:avLst/>
          </a:prstGeom>
          <a:ln w="76200">
            <a:solidFill>
              <a:srgbClr val="E35B2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61179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1 - GREEN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7FD67F68-27BB-294D-97E5-36BC83CB06D1}"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1819205A-F0EA-071B-38E5-FA0EA2DC242F}"/>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marL="1371600" indent="0">
              <a:buClr>
                <a:schemeClr val="bg2">
                  <a:lumMod val="75000"/>
                </a:schemeClr>
              </a:buClr>
              <a:buNone/>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p>
        </p:txBody>
      </p:sp>
    </p:spTree>
    <p:extLst>
      <p:ext uri="{BB962C8B-B14F-4D97-AF65-F5344CB8AC3E}">
        <p14:creationId xmlns:p14="http://schemas.microsoft.com/office/powerpoint/2010/main" val="34661417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03_Title and Content_a">
    <p:spTree>
      <p:nvGrpSpPr>
        <p:cNvPr id="1" name=""/>
        <p:cNvGrpSpPr/>
        <p:nvPr/>
      </p:nvGrpSpPr>
      <p:grpSpPr>
        <a:xfrm>
          <a:off x="0" y="0"/>
          <a:ext cx="0" cy="0"/>
          <a:chOff x="0" y="0"/>
          <a:chExt cx="0" cy="0"/>
        </a:xfrm>
      </p:grpSpPr>
      <p:sp>
        <p:nvSpPr>
          <p:cNvPr id="2" name="Title 1"/>
          <p:cNvSpPr>
            <a:spLocks noGrp="1"/>
          </p:cNvSpPr>
          <p:nvPr>
            <p:ph type="title"/>
          </p:nvPr>
        </p:nvSpPr>
        <p:spPr>
          <a:xfrm>
            <a:off x="1651000" y="1377950"/>
            <a:ext cx="9144000" cy="1290639"/>
          </a:xfrm>
        </p:spPr>
        <p:txBody>
          <a:bodyPr>
            <a:normAutofit/>
          </a:bodyPr>
          <a:lstStyle>
            <a:lvl1pPr algn="l">
              <a:defRPr sz="5067" baseline="0">
                <a:solidFill>
                  <a:srgbClr val="D9531E"/>
                </a:solidFill>
                <a:latin typeface="Franklin Gothic Book"/>
              </a:defRPr>
            </a:lvl1pPr>
          </a:lstStyle>
          <a:p>
            <a:r>
              <a:rPr lang="en-US"/>
              <a:t>Click to edit Master title style</a:t>
            </a:r>
          </a:p>
        </p:txBody>
      </p:sp>
      <p:sp>
        <p:nvSpPr>
          <p:cNvPr id="3" name="Content Placeholder 2"/>
          <p:cNvSpPr>
            <a:spLocks noGrp="1"/>
          </p:cNvSpPr>
          <p:nvPr>
            <p:ph idx="1"/>
          </p:nvPr>
        </p:nvSpPr>
        <p:spPr>
          <a:xfrm>
            <a:off x="1651000" y="2914650"/>
            <a:ext cx="9144000" cy="2241551"/>
          </a:xfrm>
        </p:spPr>
        <p:txBody>
          <a:bodyPr>
            <a:normAutofit/>
          </a:bodyPr>
          <a:lstStyle>
            <a:lvl1pPr marL="0" indent="0">
              <a:spcBef>
                <a:spcPts val="0"/>
              </a:spcBef>
              <a:buFontTx/>
              <a:buNone/>
              <a:defRPr sz="2933" baseline="0">
                <a:solidFill>
                  <a:schemeClr val="tx1"/>
                </a:solidFill>
                <a:latin typeface="Franklin Gothic Book"/>
              </a:defRPr>
            </a:lvl1pPr>
            <a:lvl2pPr marL="0" indent="0">
              <a:spcBef>
                <a:spcPts val="0"/>
              </a:spcBef>
              <a:buFontTx/>
              <a:buNone/>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0" indent="0">
              <a:spcBef>
                <a:spcPts val="0"/>
              </a:spcBef>
              <a:buFontTx/>
              <a:buNone/>
              <a:defRPr sz="2933"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pic>
        <p:nvPicPr>
          <p:cNvPr id="15" name="Picture 14"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03200"/>
            <a:ext cx="12192000" cy="105664"/>
          </a:xfrm>
          <a:prstGeom prst="rect">
            <a:avLst/>
          </a:prstGeom>
        </p:spPr>
      </p:pic>
      <p:sp>
        <p:nvSpPr>
          <p:cNvPr id="8" name="Rectangle 7"/>
          <p:cNvSpPr/>
          <p:nvPr userDrawn="1"/>
        </p:nvSpPr>
        <p:spPr>
          <a:xfrm>
            <a:off x="0" y="5970229"/>
            <a:ext cx="12192000" cy="887771"/>
          </a:xfrm>
          <a:prstGeom prst="rect">
            <a:avLst/>
          </a:prstGeom>
          <a:solidFill>
            <a:srgbClr val="002D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ConnectWithUs_Yellow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41533" y="6275240"/>
            <a:ext cx="5372608" cy="292608"/>
          </a:xfrm>
          <a:prstGeom prst="rect">
            <a:avLst/>
          </a:prstGeom>
        </p:spPr>
      </p:pic>
      <p:pic>
        <p:nvPicPr>
          <p:cNvPr id="9" name="Picture 8" descr="DenverLogo_4C_Rev.png">
            <a:extLst>
              <a:ext uri="{FF2B5EF4-FFF2-40B4-BE49-F238E27FC236}">
                <a16:creationId xmlns:a16="http://schemas.microsoft.com/office/drawing/2014/main" id="{CEA882CE-7C6F-478E-AA9F-B0340899D2B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31800" y="6121400"/>
            <a:ext cx="1693333" cy="565475"/>
          </a:xfrm>
          <a:prstGeom prst="rect">
            <a:avLst/>
          </a:prstGeom>
        </p:spPr>
      </p:pic>
    </p:spTree>
    <p:extLst>
      <p:ext uri="{BB962C8B-B14F-4D97-AF65-F5344CB8AC3E}">
        <p14:creationId xmlns:p14="http://schemas.microsoft.com/office/powerpoint/2010/main" val="24933855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4 - ORANGE - Image WHITE logo">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3" name="Picture Placeholder 2">
            <a:extLst>
              <a:ext uri="{FF2B5EF4-FFF2-40B4-BE49-F238E27FC236}">
                <a16:creationId xmlns:a16="http://schemas.microsoft.com/office/drawing/2014/main" id="{E3A906D3-8A54-1DE5-31B0-CCE09DD8E77C}"/>
              </a:ext>
            </a:extLst>
          </p:cNvPr>
          <p:cNvSpPr>
            <a:spLocks noGrp="1"/>
          </p:cNvSpPr>
          <p:nvPr>
            <p:ph type="pic" sz="quarter" idx="15"/>
          </p:nvPr>
        </p:nvSpPr>
        <p:spPr>
          <a:xfrm>
            <a:off x="8647113" y="-16042"/>
            <a:ext cx="3544887" cy="6922168"/>
          </a:xfrm>
          <a:custGeom>
            <a:avLst/>
            <a:gdLst>
              <a:gd name="connsiteX0" fmla="*/ 0 w 3544887"/>
              <a:gd name="connsiteY0" fmla="*/ 0 h 6858000"/>
              <a:gd name="connsiteX1" fmla="*/ 3544887 w 3544887"/>
              <a:gd name="connsiteY1" fmla="*/ 0 h 6858000"/>
              <a:gd name="connsiteX2" fmla="*/ 3544887 w 3544887"/>
              <a:gd name="connsiteY2" fmla="*/ 6858000 h 6858000"/>
              <a:gd name="connsiteX3" fmla="*/ 0 w 3544887"/>
              <a:gd name="connsiteY3" fmla="*/ 6858000 h 6858000"/>
              <a:gd name="connsiteX4" fmla="*/ 0 w 3544887"/>
              <a:gd name="connsiteY4" fmla="*/ 0 h 6858000"/>
              <a:gd name="connsiteX0" fmla="*/ 0 w 3544887"/>
              <a:gd name="connsiteY0" fmla="*/ 0 h 6922168"/>
              <a:gd name="connsiteX1" fmla="*/ 3544887 w 3544887"/>
              <a:gd name="connsiteY1" fmla="*/ 0 h 6922168"/>
              <a:gd name="connsiteX2" fmla="*/ 3544887 w 3544887"/>
              <a:gd name="connsiteY2" fmla="*/ 6858000 h 6922168"/>
              <a:gd name="connsiteX3" fmla="*/ 1187116 w 3544887"/>
              <a:gd name="connsiteY3" fmla="*/ 6922168 h 6922168"/>
              <a:gd name="connsiteX4" fmla="*/ 0 w 3544887"/>
              <a:gd name="connsiteY4" fmla="*/ 0 h 692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887" h="6922168">
                <a:moveTo>
                  <a:pt x="0" y="0"/>
                </a:moveTo>
                <a:lnTo>
                  <a:pt x="3544887" y="0"/>
                </a:lnTo>
                <a:lnTo>
                  <a:pt x="3544887" y="6858000"/>
                </a:lnTo>
                <a:lnTo>
                  <a:pt x="1187116" y="6922168"/>
                </a:lnTo>
                <a:lnTo>
                  <a:pt x="0" y="0"/>
                </a:lnTo>
                <a:close/>
              </a:path>
            </a:pathLst>
          </a:custGeom>
        </p:spPr>
        <p:txBody>
          <a:bodyPr/>
          <a:lstStyle>
            <a:lvl1pPr marL="0" indent="0" algn="ctr">
              <a:buNone/>
              <a:defRPr sz="2000" b="1" i="1"/>
            </a:lvl1pPr>
          </a:lstStyle>
          <a:p>
            <a:endParaRPr lang="en-US"/>
          </a:p>
          <a:p>
            <a:endParaRPr lang="en-US"/>
          </a:p>
          <a:p>
            <a:endParaRPr lang="en-US"/>
          </a:p>
          <a:p>
            <a:endParaRPr lang="en-US"/>
          </a:p>
          <a:p>
            <a:br>
              <a:rPr lang="en-US"/>
            </a:br>
            <a:br>
              <a:rPr lang="en-US"/>
            </a:br>
            <a:br>
              <a:rPr lang="en-US"/>
            </a:br>
            <a:r>
              <a:rPr lang="en-US"/>
              <a:t>       Click to replace image with      </a:t>
            </a:r>
            <a:br>
              <a:rPr lang="en-US"/>
            </a:br>
            <a:r>
              <a:rPr lang="en-US"/>
              <a:t>        your own. Or keep as is.</a:t>
            </a:r>
          </a:p>
        </p:txBody>
      </p:sp>
      <p:pic>
        <p:nvPicPr>
          <p:cNvPr id="2" name="Picture 1" descr="A black and white logo&#10;&#10;Description automatically generated">
            <a:extLst>
              <a:ext uri="{FF2B5EF4-FFF2-40B4-BE49-F238E27FC236}">
                <a16:creationId xmlns:a16="http://schemas.microsoft.com/office/drawing/2014/main" id="{90EFDF38-6ADC-7092-162F-610E8C9F554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33188" y="-6670"/>
            <a:ext cx="565288" cy="565288"/>
          </a:xfrm>
          <a:prstGeom prst="rect">
            <a:avLst/>
          </a:prstGeom>
        </p:spPr>
      </p:pic>
      <p:sp>
        <p:nvSpPr>
          <p:cNvPr id="5" name="Text Placeholder 10">
            <a:extLst>
              <a:ext uri="{FF2B5EF4-FFF2-40B4-BE49-F238E27FC236}">
                <a16:creationId xmlns:a16="http://schemas.microsoft.com/office/drawing/2014/main" id="{8BA80A90-EA60-3973-6FB2-9800F42A5C79}"/>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E35B2A"/>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10757078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E4B529-37F3-27E3-BED8-A83F60C4084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2BB814F-2ED4-A721-A9BB-C0F64474FA3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F026D87-A060-5E26-73AA-DE11117C6B13}"/>
              </a:ext>
            </a:extLst>
          </p:cNvPr>
          <p:cNvSpPr>
            <a:spLocks noGrp="1"/>
          </p:cNvSpPr>
          <p:nvPr>
            <p:ph type="dt" sz="half" idx="10"/>
          </p:nvPr>
        </p:nvSpPr>
        <p:spPr/>
        <p:txBody>
          <a:bodyPr/>
          <a:lstStyle/>
          <a:p>
            <a:fld id="{F7BCD5FC-13DF-7947-A2F8-230685ED9D21}" type="datetimeFigureOut">
              <a:rPr lang="en-US" smtClean="0"/>
              <a:t>6/17/2026</a:t>
            </a:fld>
            <a:endParaRPr lang="en-US"/>
          </a:p>
        </p:txBody>
      </p:sp>
      <p:sp>
        <p:nvSpPr>
          <p:cNvPr id="5" name="Footer Placeholder 4">
            <a:extLst>
              <a:ext uri="{FF2B5EF4-FFF2-40B4-BE49-F238E27FC236}">
                <a16:creationId xmlns:a16="http://schemas.microsoft.com/office/drawing/2014/main" id="{E1AAA843-B829-3293-8E31-20545CE683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07B6CF-47BB-38EC-860D-750905F127E3}"/>
              </a:ext>
            </a:extLst>
          </p:cNvPr>
          <p:cNvSpPr>
            <a:spLocks noGrp="1"/>
          </p:cNvSpPr>
          <p:nvPr>
            <p:ph type="sldNum" sz="quarter" idx="12"/>
          </p:nvPr>
        </p:nvSpPr>
        <p:spPr/>
        <p:txBody>
          <a:bodyPr/>
          <a:lstStyle/>
          <a:p>
            <a:fld id="{1AD8ADAF-E0A9-C440-BF83-4CE99D685A9D}" type="slidenum">
              <a:rPr lang="en-US" smtClean="0"/>
              <a:t>‹#›</a:t>
            </a:fld>
            <a:endParaRPr lang="en-US"/>
          </a:p>
        </p:txBody>
      </p:sp>
    </p:spTree>
    <p:extLst>
      <p:ext uri="{BB962C8B-B14F-4D97-AF65-F5344CB8AC3E}">
        <p14:creationId xmlns:p14="http://schemas.microsoft.com/office/powerpoint/2010/main" val="1228471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65A48-4189-F93E-C746-B8E403F1342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597866-6D8F-A4C9-00F1-0A84474EA28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F060A0-ADF0-2AC6-BAB0-C3348AB0E3B4}"/>
              </a:ext>
            </a:extLst>
          </p:cNvPr>
          <p:cNvSpPr>
            <a:spLocks noGrp="1"/>
          </p:cNvSpPr>
          <p:nvPr>
            <p:ph type="dt" sz="half" idx="10"/>
          </p:nvPr>
        </p:nvSpPr>
        <p:spPr/>
        <p:txBody>
          <a:bodyPr/>
          <a:lstStyle/>
          <a:p>
            <a:fld id="{F7BCD5FC-13DF-7947-A2F8-230685ED9D21}" type="datetimeFigureOut">
              <a:rPr lang="en-US" smtClean="0"/>
              <a:t>6/17/2026</a:t>
            </a:fld>
            <a:endParaRPr lang="en-US"/>
          </a:p>
        </p:txBody>
      </p:sp>
      <p:sp>
        <p:nvSpPr>
          <p:cNvPr id="5" name="Footer Placeholder 4">
            <a:extLst>
              <a:ext uri="{FF2B5EF4-FFF2-40B4-BE49-F238E27FC236}">
                <a16:creationId xmlns:a16="http://schemas.microsoft.com/office/drawing/2014/main" id="{AB61D802-2563-13DE-7874-64BBB3A59B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FF7405-EC7E-4C73-C700-8CB6BF59CFE8}"/>
              </a:ext>
            </a:extLst>
          </p:cNvPr>
          <p:cNvSpPr>
            <a:spLocks noGrp="1"/>
          </p:cNvSpPr>
          <p:nvPr>
            <p:ph type="sldNum" sz="quarter" idx="12"/>
          </p:nvPr>
        </p:nvSpPr>
        <p:spPr/>
        <p:txBody>
          <a:bodyPr/>
          <a:lstStyle/>
          <a:p>
            <a:fld id="{1AD8ADAF-E0A9-C440-BF83-4CE99D685A9D}" type="slidenum">
              <a:rPr lang="en-US" smtClean="0"/>
              <a:t>‹#›</a:t>
            </a:fld>
            <a:endParaRPr lang="en-US"/>
          </a:p>
        </p:txBody>
      </p:sp>
    </p:spTree>
    <p:extLst>
      <p:ext uri="{BB962C8B-B14F-4D97-AF65-F5344CB8AC3E}">
        <p14:creationId xmlns:p14="http://schemas.microsoft.com/office/powerpoint/2010/main" val="6799019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06A14-3301-BCA3-DAEA-7E6CD836FCD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233B96D-AEB8-9007-4ABD-049B655360A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1A17BEA-4646-64A9-8066-00005EBB38DD}"/>
              </a:ext>
            </a:extLst>
          </p:cNvPr>
          <p:cNvSpPr>
            <a:spLocks noGrp="1"/>
          </p:cNvSpPr>
          <p:nvPr>
            <p:ph type="dt" sz="half" idx="10"/>
          </p:nvPr>
        </p:nvSpPr>
        <p:spPr/>
        <p:txBody>
          <a:bodyPr/>
          <a:lstStyle/>
          <a:p>
            <a:fld id="{F7BCD5FC-13DF-7947-A2F8-230685ED9D21}" type="datetimeFigureOut">
              <a:rPr lang="en-US" smtClean="0"/>
              <a:t>6/17/2026</a:t>
            </a:fld>
            <a:endParaRPr lang="en-US"/>
          </a:p>
        </p:txBody>
      </p:sp>
      <p:sp>
        <p:nvSpPr>
          <p:cNvPr id="5" name="Footer Placeholder 4">
            <a:extLst>
              <a:ext uri="{FF2B5EF4-FFF2-40B4-BE49-F238E27FC236}">
                <a16:creationId xmlns:a16="http://schemas.microsoft.com/office/drawing/2014/main" id="{D5112C7E-E9AC-21C1-EBC9-878859E505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3BD9E9-890C-F252-6606-B87D5BD69CD4}"/>
              </a:ext>
            </a:extLst>
          </p:cNvPr>
          <p:cNvSpPr>
            <a:spLocks noGrp="1"/>
          </p:cNvSpPr>
          <p:nvPr>
            <p:ph type="sldNum" sz="quarter" idx="12"/>
          </p:nvPr>
        </p:nvSpPr>
        <p:spPr/>
        <p:txBody>
          <a:bodyPr/>
          <a:lstStyle/>
          <a:p>
            <a:fld id="{1AD8ADAF-E0A9-C440-BF83-4CE99D685A9D}" type="slidenum">
              <a:rPr lang="en-US" smtClean="0"/>
              <a:t>‹#›</a:t>
            </a:fld>
            <a:endParaRPr lang="en-US"/>
          </a:p>
        </p:txBody>
      </p:sp>
    </p:spTree>
    <p:extLst>
      <p:ext uri="{BB962C8B-B14F-4D97-AF65-F5344CB8AC3E}">
        <p14:creationId xmlns:p14="http://schemas.microsoft.com/office/powerpoint/2010/main" val="32039810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64E55-CC9B-E146-2A61-7CC4D9F3ED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F94D090-8900-D263-8AF0-B272F7D0D99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679BCDF-BAED-B7E7-9F31-CFBD2465DC7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4A03DCE-B4A2-9D66-8484-251574036FF1}"/>
              </a:ext>
            </a:extLst>
          </p:cNvPr>
          <p:cNvSpPr>
            <a:spLocks noGrp="1"/>
          </p:cNvSpPr>
          <p:nvPr>
            <p:ph type="dt" sz="half" idx="10"/>
          </p:nvPr>
        </p:nvSpPr>
        <p:spPr/>
        <p:txBody>
          <a:bodyPr/>
          <a:lstStyle/>
          <a:p>
            <a:fld id="{F7BCD5FC-13DF-7947-A2F8-230685ED9D21}" type="datetimeFigureOut">
              <a:rPr lang="en-US" smtClean="0"/>
              <a:t>6/17/2026</a:t>
            </a:fld>
            <a:endParaRPr lang="en-US"/>
          </a:p>
        </p:txBody>
      </p:sp>
      <p:sp>
        <p:nvSpPr>
          <p:cNvPr id="6" name="Footer Placeholder 5">
            <a:extLst>
              <a:ext uri="{FF2B5EF4-FFF2-40B4-BE49-F238E27FC236}">
                <a16:creationId xmlns:a16="http://schemas.microsoft.com/office/drawing/2014/main" id="{DBD7C103-5A0E-D5CE-D2B7-7262E4E460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6FE9FA-CA7C-3579-82C1-55CEF4D1B2D4}"/>
              </a:ext>
            </a:extLst>
          </p:cNvPr>
          <p:cNvSpPr>
            <a:spLocks noGrp="1"/>
          </p:cNvSpPr>
          <p:nvPr>
            <p:ph type="sldNum" sz="quarter" idx="12"/>
          </p:nvPr>
        </p:nvSpPr>
        <p:spPr/>
        <p:txBody>
          <a:bodyPr/>
          <a:lstStyle/>
          <a:p>
            <a:fld id="{1AD8ADAF-E0A9-C440-BF83-4CE99D685A9D}" type="slidenum">
              <a:rPr lang="en-US" smtClean="0"/>
              <a:t>‹#›</a:t>
            </a:fld>
            <a:endParaRPr lang="en-US"/>
          </a:p>
        </p:txBody>
      </p:sp>
    </p:spTree>
    <p:extLst>
      <p:ext uri="{BB962C8B-B14F-4D97-AF65-F5344CB8AC3E}">
        <p14:creationId xmlns:p14="http://schemas.microsoft.com/office/powerpoint/2010/main" val="34171629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29883-F9D5-8FCB-800B-E82F1F32923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D4B762A-36EF-4C01-51C1-1E6A6B0C351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C0CD3FE-B0B5-45C3-4D81-6FC0B09283D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62E9B26-8A30-76A3-4E0E-DB6873F64A8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F265260-4A22-4628-D1DE-CAF745AC212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E7CC59-DA35-50B5-4071-4B065C8C229D}"/>
              </a:ext>
            </a:extLst>
          </p:cNvPr>
          <p:cNvSpPr>
            <a:spLocks noGrp="1"/>
          </p:cNvSpPr>
          <p:nvPr>
            <p:ph type="dt" sz="half" idx="10"/>
          </p:nvPr>
        </p:nvSpPr>
        <p:spPr/>
        <p:txBody>
          <a:bodyPr/>
          <a:lstStyle/>
          <a:p>
            <a:fld id="{F7BCD5FC-13DF-7947-A2F8-230685ED9D21}" type="datetimeFigureOut">
              <a:rPr lang="en-US" smtClean="0"/>
              <a:t>6/17/2026</a:t>
            </a:fld>
            <a:endParaRPr lang="en-US"/>
          </a:p>
        </p:txBody>
      </p:sp>
      <p:sp>
        <p:nvSpPr>
          <p:cNvPr id="8" name="Footer Placeholder 7">
            <a:extLst>
              <a:ext uri="{FF2B5EF4-FFF2-40B4-BE49-F238E27FC236}">
                <a16:creationId xmlns:a16="http://schemas.microsoft.com/office/drawing/2014/main" id="{56998E70-8392-8ADB-910C-3309C2D633A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B7FCC37-2464-BBA3-65C7-A16B6F6BC23F}"/>
              </a:ext>
            </a:extLst>
          </p:cNvPr>
          <p:cNvSpPr>
            <a:spLocks noGrp="1"/>
          </p:cNvSpPr>
          <p:nvPr>
            <p:ph type="sldNum" sz="quarter" idx="12"/>
          </p:nvPr>
        </p:nvSpPr>
        <p:spPr/>
        <p:txBody>
          <a:bodyPr/>
          <a:lstStyle/>
          <a:p>
            <a:fld id="{1AD8ADAF-E0A9-C440-BF83-4CE99D685A9D}" type="slidenum">
              <a:rPr lang="en-US" smtClean="0"/>
              <a:t>‹#›</a:t>
            </a:fld>
            <a:endParaRPr lang="en-US"/>
          </a:p>
        </p:txBody>
      </p:sp>
    </p:spTree>
    <p:extLst>
      <p:ext uri="{BB962C8B-B14F-4D97-AF65-F5344CB8AC3E}">
        <p14:creationId xmlns:p14="http://schemas.microsoft.com/office/powerpoint/2010/main" val="39456359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B8378-4CA5-FDBB-C757-284C09CBD1E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CB1BF1E-A6DF-91E6-9789-E0878F7F2580}"/>
              </a:ext>
            </a:extLst>
          </p:cNvPr>
          <p:cNvSpPr>
            <a:spLocks noGrp="1"/>
          </p:cNvSpPr>
          <p:nvPr>
            <p:ph type="dt" sz="half" idx="10"/>
          </p:nvPr>
        </p:nvSpPr>
        <p:spPr/>
        <p:txBody>
          <a:bodyPr/>
          <a:lstStyle/>
          <a:p>
            <a:fld id="{F7BCD5FC-13DF-7947-A2F8-230685ED9D21}" type="datetimeFigureOut">
              <a:rPr lang="en-US" smtClean="0"/>
              <a:t>6/17/2026</a:t>
            </a:fld>
            <a:endParaRPr lang="en-US"/>
          </a:p>
        </p:txBody>
      </p:sp>
      <p:sp>
        <p:nvSpPr>
          <p:cNvPr id="4" name="Footer Placeholder 3">
            <a:extLst>
              <a:ext uri="{FF2B5EF4-FFF2-40B4-BE49-F238E27FC236}">
                <a16:creationId xmlns:a16="http://schemas.microsoft.com/office/drawing/2014/main" id="{C539D5AF-D782-22E7-7CEE-A1890628F9C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A9BC8AF-13D6-BF95-911F-2EC4710E1B1F}"/>
              </a:ext>
            </a:extLst>
          </p:cNvPr>
          <p:cNvSpPr>
            <a:spLocks noGrp="1"/>
          </p:cNvSpPr>
          <p:nvPr>
            <p:ph type="sldNum" sz="quarter" idx="12"/>
          </p:nvPr>
        </p:nvSpPr>
        <p:spPr/>
        <p:txBody>
          <a:bodyPr/>
          <a:lstStyle/>
          <a:p>
            <a:fld id="{1AD8ADAF-E0A9-C440-BF83-4CE99D685A9D}" type="slidenum">
              <a:rPr lang="en-US" smtClean="0"/>
              <a:t>‹#›</a:t>
            </a:fld>
            <a:endParaRPr lang="en-US"/>
          </a:p>
        </p:txBody>
      </p:sp>
    </p:spTree>
    <p:extLst>
      <p:ext uri="{BB962C8B-B14F-4D97-AF65-F5344CB8AC3E}">
        <p14:creationId xmlns:p14="http://schemas.microsoft.com/office/powerpoint/2010/main" val="2064136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1 - blu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2390692" y="946484"/>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13" name="Text Placeholder 12">
            <a:extLst>
              <a:ext uri="{FF2B5EF4-FFF2-40B4-BE49-F238E27FC236}">
                <a16:creationId xmlns:a16="http://schemas.microsoft.com/office/drawing/2014/main" id="{D012BFE2-0CCB-578A-559A-8D1EB54F565C}"/>
              </a:ext>
            </a:extLst>
          </p:cNvPr>
          <p:cNvSpPr>
            <a:spLocks noGrp="1"/>
          </p:cNvSpPr>
          <p:nvPr>
            <p:ph type="body" sz="quarter" idx="11" hasCustomPrompt="1"/>
          </p:nvPr>
        </p:nvSpPr>
        <p:spPr>
          <a:xfrm>
            <a:off x="2390692" y="1540844"/>
            <a:ext cx="8694738"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625726" y="6064376"/>
            <a:ext cx="2021222" cy="432677"/>
          </a:xfrm>
          <a:prstGeom prst="rect">
            <a:avLst/>
          </a:prstGeom>
        </p:spPr>
        <p:txBody>
          <a:bodyPr/>
          <a:lstStyle>
            <a:lvl1pPr marL="0" indent="0">
              <a:buNone/>
              <a:defRPr sz="1800" b="1" spc="300">
                <a:solidFill>
                  <a:schemeClr val="bg1"/>
                </a:solidFill>
              </a:defRPr>
            </a:lvl1pPr>
            <a:lvl3pPr marL="914400" indent="0" algn="l">
              <a:buFont typeface="Arial" panose="020B0604020202020204" pitchFamily="34" charset="0"/>
              <a:buNone/>
              <a:defRPr/>
            </a:lvl3pPr>
          </a:lstStyle>
          <a:p>
            <a:pPr lvl="0"/>
            <a:r>
              <a:rPr lang="en-US"/>
              <a:t>MONTH 2024</a:t>
            </a:r>
          </a:p>
        </p:txBody>
      </p:sp>
      <p:cxnSp>
        <p:nvCxnSpPr>
          <p:cNvPr id="2" name="Straight Connector 1">
            <a:extLst>
              <a:ext uri="{FF2B5EF4-FFF2-40B4-BE49-F238E27FC236}">
                <a16:creationId xmlns:a16="http://schemas.microsoft.com/office/drawing/2014/main" id="{B5590243-0B56-53E5-E3C6-D02EFE2FA9C2}"/>
              </a:ext>
            </a:extLst>
          </p:cNvPr>
          <p:cNvCxnSpPr/>
          <p:nvPr userDrawn="1"/>
        </p:nvCxnSpPr>
        <p:spPr>
          <a:xfrm>
            <a:off x="721526" y="5874026"/>
            <a:ext cx="640080" cy="0"/>
          </a:xfrm>
          <a:prstGeom prst="line">
            <a:avLst/>
          </a:prstGeom>
          <a:ln w="76200">
            <a:solidFill>
              <a:srgbClr val="C3D83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9219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8F13BC-D388-DEA6-FBD8-7A1F9A30E3A6}"/>
              </a:ext>
            </a:extLst>
          </p:cNvPr>
          <p:cNvSpPr>
            <a:spLocks noGrp="1"/>
          </p:cNvSpPr>
          <p:nvPr>
            <p:ph type="dt" sz="half" idx="10"/>
          </p:nvPr>
        </p:nvSpPr>
        <p:spPr/>
        <p:txBody>
          <a:bodyPr/>
          <a:lstStyle/>
          <a:p>
            <a:fld id="{F7BCD5FC-13DF-7947-A2F8-230685ED9D21}" type="datetimeFigureOut">
              <a:rPr lang="en-US" smtClean="0"/>
              <a:t>6/17/2026</a:t>
            </a:fld>
            <a:endParaRPr lang="en-US"/>
          </a:p>
        </p:txBody>
      </p:sp>
      <p:sp>
        <p:nvSpPr>
          <p:cNvPr id="3" name="Footer Placeholder 2">
            <a:extLst>
              <a:ext uri="{FF2B5EF4-FFF2-40B4-BE49-F238E27FC236}">
                <a16:creationId xmlns:a16="http://schemas.microsoft.com/office/drawing/2014/main" id="{771512C5-9DF1-40B4-D3E3-56502DDDFCB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B770F2E-2720-DB77-F2E2-1AA4B9BF00FC}"/>
              </a:ext>
            </a:extLst>
          </p:cNvPr>
          <p:cNvSpPr>
            <a:spLocks noGrp="1"/>
          </p:cNvSpPr>
          <p:nvPr>
            <p:ph type="sldNum" sz="quarter" idx="12"/>
          </p:nvPr>
        </p:nvSpPr>
        <p:spPr/>
        <p:txBody>
          <a:bodyPr/>
          <a:lstStyle/>
          <a:p>
            <a:fld id="{1AD8ADAF-E0A9-C440-BF83-4CE99D685A9D}" type="slidenum">
              <a:rPr lang="en-US" smtClean="0"/>
              <a:t>‹#›</a:t>
            </a:fld>
            <a:endParaRPr lang="en-US"/>
          </a:p>
        </p:txBody>
      </p:sp>
    </p:spTree>
    <p:extLst>
      <p:ext uri="{BB962C8B-B14F-4D97-AF65-F5344CB8AC3E}">
        <p14:creationId xmlns:p14="http://schemas.microsoft.com/office/powerpoint/2010/main" val="31816139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A1957-07D4-8259-8B83-34D00302B13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4145DB4-0746-A0E4-5EE7-1CB93877790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FBD4C7B-D88C-8735-A295-3262A1F4BF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29CC462-3687-90D1-B602-FD5532AB78AA}"/>
              </a:ext>
            </a:extLst>
          </p:cNvPr>
          <p:cNvSpPr>
            <a:spLocks noGrp="1"/>
          </p:cNvSpPr>
          <p:nvPr>
            <p:ph type="dt" sz="half" idx="10"/>
          </p:nvPr>
        </p:nvSpPr>
        <p:spPr/>
        <p:txBody>
          <a:bodyPr/>
          <a:lstStyle/>
          <a:p>
            <a:fld id="{F7BCD5FC-13DF-7947-A2F8-230685ED9D21}" type="datetimeFigureOut">
              <a:rPr lang="en-US" smtClean="0"/>
              <a:t>6/17/2026</a:t>
            </a:fld>
            <a:endParaRPr lang="en-US"/>
          </a:p>
        </p:txBody>
      </p:sp>
      <p:sp>
        <p:nvSpPr>
          <p:cNvPr id="6" name="Footer Placeholder 5">
            <a:extLst>
              <a:ext uri="{FF2B5EF4-FFF2-40B4-BE49-F238E27FC236}">
                <a16:creationId xmlns:a16="http://schemas.microsoft.com/office/drawing/2014/main" id="{2F73FECB-B5C6-14E4-D5D1-07DCFCFD50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7523F32-618F-C236-C98E-3B2DFDE13344}"/>
              </a:ext>
            </a:extLst>
          </p:cNvPr>
          <p:cNvSpPr>
            <a:spLocks noGrp="1"/>
          </p:cNvSpPr>
          <p:nvPr>
            <p:ph type="sldNum" sz="quarter" idx="12"/>
          </p:nvPr>
        </p:nvSpPr>
        <p:spPr/>
        <p:txBody>
          <a:bodyPr/>
          <a:lstStyle/>
          <a:p>
            <a:fld id="{1AD8ADAF-E0A9-C440-BF83-4CE99D685A9D}" type="slidenum">
              <a:rPr lang="en-US" smtClean="0"/>
              <a:t>‹#›</a:t>
            </a:fld>
            <a:endParaRPr lang="en-US"/>
          </a:p>
        </p:txBody>
      </p:sp>
    </p:spTree>
    <p:extLst>
      <p:ext uri="{BB962C8B-B14F-4D97-AF65-F5344CB8AC3E}">
        <p14:creationId xmlns:p14="http://schemas.microsoft.com/office/powerpoint/2010/main" val="36030219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B282B-C103-5D24-ACBD-474D9224C9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12C615-D1DE-C6B9-196B-F128095D5D8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B554C6A-ADD7-4AD6-3DD1-59B47670BF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987C6A9-C74B-CDBA-BEB1-5837FB58906F}"/>
              </a:ext>
            </a:extLst>
          </p:cNvPr>
          <p:cNvSpPr>
            <a:spLocks noGrp="1"/>
          </p:cNvSpPr>
          <p:nvPr>
            <p:ph type="dt" sz="half" idx="10"/>
          </p:nvPr>
        </p:nvSpPr>
        <p:spPr/>
        <p:txBody>
          <a:bodyPr/>
          <a:lstStyle/>
          <a:p>
            <a:fld id="{F7BCD5FC-13DF-7947-A2F8-230685ED9D21}" type="datetimeFigureOut">
              <a:rPr lang="en-US" smtClean="0"/>
              <a:t>6/17/2026</a:t>
            </a:fld>
            <a:endParaRPr lang="en-US"/>
          </a:p>
        </p:txBody>
      </p:sp>
      <p:sp>
        <p:nvSpPr>
          <p:cNvPr id="6" name="Footer Placeholder 5">
            <a:extLst>
              <a:ext uri="{FF2B5EF4-FFF2-40B4-BE49-F238E27FC236}">
                <a16:creationId xmlns:a16="http://schemas.microsoft.com/office/drawing/2014/main" id="{742994D3-AA85-B5A7-8E3A-659CEEA900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485DEB-F6B8-0E01-A4E6-A08BBE4B654E}"/>
              </a:ext>
            </a:extLst>
          </p:cNvPr>
          <p:cNvSpPr>
            <a:spLocks noGrp="1"/>
          </p:cNvSpPr>
          <p:nvPr>
            <p:ph type="sldNum" sz="quarter" idx="12"/>
          </p:nvPr>
        </p:nvSpPr>
        <p:spPr/>
        <p:txBody>
          <a:bodyPr/>
          <a:lstStyle/>
          <a:p>
            <a:fld id="{1AD8ADAF-E0A9-C440-BF83-4CE99D685A9D}" type="slidenum">
              <a:rPr lang="en-US" smtClean="0"/>
              <a:t>‹#›</a:t>
            </a:fld>
            <a:endParaRPr lang="en-US"/>
          </a:p>
        </p:txBody>
      </p:sp>
    </p:spTree>
    <p:extLst>
      <p:ext uri="{BB962C8B-B14F-4D97-AF65-F5344CB8AC3E}">
        <p14:creationId xmlns:p14="http://schemas.microsoft.com/office/powerpoint/2010/main" val="8877886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20572-4D8D-C887-F96E-72BA7A49C48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835D742-A617-912B-A286-1F160D00E68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D39A7E-B04D-FC42-7C21-6A9324F99665}"/>
              </a:ext>
            </a:extLst>
          </p:cNvPr>
          <p:cNvSpPr>
            <a:spLocks noGrp="1"/>
          </p:cNvSpPr>
          <p:nvPr>
            <p:ph type="dt" sz="half" idx="10"/>
          </p:nvPr>
        </p:nvSpPr>
        <p:spPr/>
        <p:txBody>
          <a:bodyPr/>
          <a:lstStyle/>
          <a:p>
            <a:fld id="{F7BCD5FC-13DF-7947-A2F8-230685ED9D21}" type="datetimeFigureOut">
              <a:rPr lang="en-US" smtClean="0"/>
              <a:t>6/17/2026</a:t>
            </a:fld>
            <a:endParaRPr lang="en-US"/>
          </a:p>
        </p:txBody>
      </p:sp>
      <p:sp>
        <p:nvSpPr>
          <p:cNvPr id="5" name="Footer Placeholder 4">
            <a:extLst>
              <a:ext uri="{FF2B5EF4-FFF2-40B4-BE49-F238E27FC236}">
                <a16:creationId xmlns:a16="http://schemas.microsoft.com/office/drawing/2014/main" id="{3E5EF7F9-DC71-A761-E167-4D24E7513C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9C75B6-930F-59EF-2C58-7D059229BE6F}"/>
              </a:ext>
            </a:extLst>
          </p:cNvPr>
          <p:cNvSpPr>
            <a:spLocks noGrp="1"/>
          </p:cNvSpPr>
          <p:nvPr>
            <p:ph type="sldNum" sz="quarter" idx="12"/>
          </p:nvPr>
        </p:nvSpPr>
        <p:spPr/>
        <p:txBody>
          <a:bodyPr/>
          <a:lstStyle/>
          <a:p>
            <a:fld id="{1AD8ADAF-E0A9-C440-BF83-4CE99D685A9D}" type="slidenum">
              <a:rPr lang="en-US" smtClean="0"/>
              <a:t>‹#›</a:t>
            </a:fld>
            <a:endParaRPr lang="en-US"/>
          </a:p>
        </p:txBody>
      </p:sp>
    </p:spTree>
    <p:extLst>
      <p:ext uri="{BB962C8B-B14F-4D97-AF65-F5344CB8AC3E}">
        <p14:creationId xmlns:p14="http://schemas.microsoft.com/office/powerpoint/2010/main" val="36400362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86F4B3-D572-784D-B272-41FE30BAC47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EC8D081-2F58-710A-208B-7055204BA6F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F86B68-5F16-6170-D8D6-7CC3AD9ECDF1}"/>
              </a:ext>
            </a:extLst>
          </p:cNvPr>
          <p:cNvSpPr>
            <a:spLocks noGrp="1"/>
          </p:cNvSpPr>
          <p:nvPr>
            <p:ph type="dt" sz="half" idx="10"/>
          </p:nvPr>
        </p:nvSpPr>
        <p:spPr/>
        <p:txBody>
          <a:bodyPr/>
          <a:lstStyle/>
          <a:p>
            <a:fld id="{F7BCD5FC-13DF-7947-A2F8-230685ED9D21}" type="datetimeFigureOut">
              <a:rPr lang="en-US" smtClean="0"/>
              <a:t>6/17/2026</a:t>
            </a:fld>
            <a:endParaRPr lang="en-US"/>
          </a:p>
        </p:txBody>
      </p:sp>
      <p:sp>
        <p:nvSpPr>
          <p:cNvPr id="5" name="Footer Placeholder 4">
            <a:extLst>
              <a:ext uri="{FF2B5EF4-FFF2-40B4-BE49-F238E27FC236}">
                <a16:creationId xmlns:a16="http://schemas.microsoft.com/office/drawing/2014/main" id="{E2704BAE-0AA3-07B1-6A2A-2F77E30C06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B08CB7-1D73-588D-C9C4-93DA8B3EDAC3}"/>
              </a:ext>
            </a:extLst>
          </p:cNvPr>
          <p:cNvSpPr>
            <a:spLocks noGrp="1"/>
          </p:cNvSpPr>
          <p:nvPr>
            <p:ph type="sldNum" sz="quarter" idx="12"/>
          </p:nvPr>
        </p:nvSpPr>
        <p:spPr/>
        <p:txBody>
          <a:bodyPr/>
          <a:lstStyle/>
          <a:p>
            <a:fld id="{1AD8ADAF-E0A9-C440-BF83-4CE99D685A9D}" type="slidenum">
              <a:rPr lang="en-US" smtClean="0"/>
              <a:t>‹#›</a:t>
            </a:fld>
            <a:endParaRPr lang="en-US"/>
          </a:p>
        </p:txBody>
      </p:sp>
    </p:spTree>
    <p:extLst>
      <p:ext uri="{BB962C8B-B14F-4D97-AF65-F5344CB8AC3E}">
        <p14:creationId xmlns:p14="http://schemas.microsoft.com/office/powerpoint/2010/main" val="21016440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2_Two Content">
    <p:bg>
      <p:bgPr>
        <a:solidFill>
          <a:schemeClr val="bg1">
            <a:lumMod val="95000"/>
          </a:schemeClr>
        </a:solidFill>
        <a:effectLst/>
      </p:bgPr>
    </p:bg>
    <p:spTree>
      <p:nvGrpSpPr>
        <p:cNvPr id="1" name=""/>
        <p:cNvGrpSpPr/>
        <p:nvPr/>
      </p:nvGrpSpPr>
      <p:grpSpPr>
        <a:xfrm>
          <a:off x="0" y="0"/>
          <a:ext cx="0" cy="0"/>
          <a:chOff x="0" y="0"/>
          <a:chExt cx="0" cy="0"/>
        </a:xfrm>
      </p:grpSpPr>
      <p:sp>
        <p:nvSpPr>
          <p:cNvPr id="6" name="Title 7">
            <a:extLst>
              <a:ext uri="{FF2B5EF4-FFF2-40B4-BE49-F238E27FC236}">
                <a16:creationId xmlns:a16="http://schemas.microsoft.com/office/drawing/2014/main" id="{7A210842-C856-EAB7-ECD7-C80D85137E32}"/>
              </a:ext>
            </a:extLst>
          </p:cNvPr>
          <p:cNvSpPr>
            <a:spLocks noGrp="1"/>
          </p:cNvSpPr>
          <p:nvPr>
            <p:ph type="title"/>
          </p:nvPr>
        </p:nvSpPr>
        <p:spPr>
          <a:xfrm>
            <a:off x="517523" y="550862"/>
            <a:ext cx="7590157" cy="498475"/>
          </a:xfrm>
        </p:spPr>
        <p:txBody>
          <a:bodyPr>
            <a:noAutofit/>
          </a:bodyPr>
          <a:lstStyle>
            <a:lvl1pPr>
              <a:defRPr sz="3600">
                <a:solidFill>
                  <a:schemeClr val="accent1"/>
                </a:solidFill>
                <a:latin typeface="Franklin Gothic Medium" panose="020B0603020102020204" pitchFamily="34" charset="0"/>
              </a:defRPr>
            </a:lvl1pPr>
          </a:lstStyle>
          <a:p>
            <a:r>
              <a:rPr lang="en-US"/>
              <a:t>Click to edit Master title style</a:t>
            </a:r>
          </a:p>
        </p:txBody>
      </p:sp>
      <p:sp>
        <p:nvSpPr>
          <p:cNvPr id="2" name="Rectangle 1">
            <a:extLst>
              <a:ext uri="{FF2B5EF4-FFF2-40B4-BE49-F238E27FC236}">
                <a16:creationId xmlns:a16="http://schemas.microsoft.com/office/drawing/2014/main" id="{B0678ADB-7B8E-A320-7BB0-B3106D92702C}"/>
              </a:ext>
            </a:extLst>
          </p:cNvPr>
          <p:cNvSpPr/>
          <p:nvPr userDrawn="1"/>
        </p:nvSpPr>
        <p:spPr>
          <a:xfrm>
            <a:off x="9874249" y="324910"/>
            <a:ext cx="2317751" cy="93911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B10122D-399C-1EC3-D281-149BFA504FBF}"/>
              </a:ext>
            </a:extLst>
          </p:cNvPr>
          <p:cNvPicPr>
            <a:picLocks noChangeAspect="1"/>
          </p:cNvPicPr>
          <p:nvPr userDrawn="1"/>
        </p:nvPicPr>
        <p:blipFill>
          <a:blip r:embed="rId2"/>
          <a:stretch>
            <a:fillRect/>
          </a:stretch>
        </p:blipFill>
        <p:spPr>
          <a:xfrm>
            <a:off x="10045183" y="537687"/>
            <a:ext cx="1975882" cy="511650"/>
          </a:xfrm>
          <a:prstGeom prst="rect">
            <a:avLst/>
          </a:prstGeom>
        </p:spPr>
      </p:pic>
      <p:sp>
        <p:nvSpPr>
          <p:cNvPr id="5" name="Rectangle 4">
            <a:extLst>
              <a:ext uri="{FF2B5EF4-FFF2-40B4-BE49-F238E27FC236}">
                <a16:creationId xmlns:a16="http://schemas.microsoft.com/office/drawing/2014/main" id="{86086E3A-CE29-F840-920C-CD8DF8F41F15}"/>
              </a:ext>
            </a:extLst>
          </p:cNvPr>
          <p:cNvSpPr/>
          <p:nvPr userDrawn="1"/>
        </p:nvSpPr>
        <p:spPr>
          <a:xfrm>
            <a:off x="0" y="134742"/>
            <a:ext cx="266330" cy="134950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2715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5_Two Content">
    <p:bg>
      <p:bgPr>
        <a:solidFill>
          <a:srgbClr val="F3F1F1"/>
        </a:solidFill>
        <a:effectLst/>
      </p:bgPr>
    </p:bg>
    <p:spTree>
      <p:nvGrpSpPr>
        <p:cNvPr id="1" name=""/>
        <p:cNvGrpSpPr/>
        <p:nvPr/>
      </p:nvGrpSpPr>
      <p:grpSpPr>
        <a:xfrm>
          <a:off x="0" y="0"/>
          <a:ext cx="0" cy="0"/>
          <a:chOff x="0" y="0"/>
          <a:chExt cx="0" cy="0"/>
        </a:xfrm>
      </p:grpSpPr>
      <p:pic>
        <p:nvPicPr>
          <p:cNvPr id="3" name="Picture 2" descr="Denver skyline and view of City Park&#10;">
            <a:extLst>
              <a:ext uri="{FF2B5EF4-FFF2-40B4-BE49-F238E27FC236}">
                <a16:creationId xmlns:a16="http://schemas.microsoft.com/office/drawing/2014/main" id="{7D557ED1-0CBE-C03A-5EDB-E08402CB51E1}"/>
              </a:ext>
            </a:extLst>
          </p:cNvPr>
          <p:cNvPicPr>
            <a:picLocks noChangeAspect="1"/>
          </p:cNvPicPr>
          <p:nvPr userDrawn="1"/>
        </p:nvPicPr>
        <p:blipFill>
          <a:blip r:embed="rId2"/>
          <a:stretch>
            <a:fillRect/>
          </a:stretch>
        </p:blipFill>
        <p:spPr>
          <a:xfrm>
            <a:off x="0" y="0"/>
            <a:ext cx="2730500" cy="6858000"/>
          </a:xfrm>
          <a:prstGeom prst="rect">
            <a:avLst/>
          </a:prstGeom>
        </p:spPr>
      </p:pic>
      <p:sp>
        <p:nvSpPr>
          <p:cNvPr id="4" name="Rectangle 3">
            <a:extLst>
              <a:ext uri="{FF2B5EF4-FFF2-40B4-BE49-F238E27FC236}">
                <a16:creationId xmlns:a16="http://schemas.microsoft.com/office/drawing/2014/main" id="{97EF56B5-E52B-1DCB-1091-5CA0269E200B}"/>
              </a:ext>
            </a:extLst>
          </p:cNvPr>
          <p:cNvSpPr/>
          <p:nvPr userDrawn="1"/>
        </p:nvSpPr>
        <p:spPr>
          <a:xfrm>
            <a:off x="0" y="5880847"/>
            <a:ext cx="2730500" cy="977153"/>
          </a:xfrm>
          <a:prstGeom prst="rect">
            <a:avLst/>
          </a:prstGeom>
          <a:solidFill>
            <a:srgbClr val="6E8D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C6D7D0E2-13FA-3B32-4988-091DC06C9680}"/>
              </a:ext>
            </a:extLst>
          </p:cNvPr>
          <p:cNvPicPr>
            <a:picLocks noChangeAspect="1"/>
          </p:cNvPicPr>
          <p:nvPr userDrawn="1"/>
        </p:nvPicPr>
        <p:blipFill>
          <a:blip r:embed="rId3"/>
          <a:stretch>
            <a:fillRect/>
          </a:stretch>
        </p:blipFill>
        <p:spPr>
          <a:xfrm>
            <a:off x="399158" y="6078830"/>
            <a:ext cx="1975882" cy="511650"/>
          </a:xfrm>
          <a:prstGeom prst="rect">
            <a:avLst/>
          </a:prstGeom>
        </p:spPr>
      </p:pic>
      <p:sp>
        <p:nvSpPr>
          <p:cNvPr id="2" name="Rectangle 1">
            <a:extLst>
              <a:ext uri="{FF2B5EF4-FFF2-40B4-BE49-F238E27FC236}">
                <a16:creationId xmlns:a16="http://schemas.microsoft.com/office/drawing/2014/main" id="{AB5B573A-338F-C065-1921-192521C472EA}"/>
              </a:ext>
            </a:extLst>
          </p:cNvPr>
          <p:cNvSpPr/>
          <p:nvPr userDrawn="1"/>
        </p:nvSpPr>
        <p:spPr>
          <a:xfrm>
            <a:off x="0" y="1556087"/>
            <a:ext cx="824753" cy="4324760"/>
          </a:xfrm>
          <a:prstGeom prst="rect">
            <a:avLst/>
          </a:prstGeom>
          <a:solidFill>
            <a:schemeClr val="accent1">
              <a:alpha val="6616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CD150335-E73B-FF1C-EDB0-2BF0A4B2B0EE}"/>
              </a:ext>
            </a:extLst>
          </p:cNvPr>
          <p:cNvSpPr/>
          <p:nvPr userDrawn="1"/>
        </p:nvSpPr>
        <p:spPr>
          <a:xfrm>
            <a:off x="0" y="0"/>
            <a:ext cx="2730500" cy="2026024"/>
          </a:xfrm>
          <a:prstGeom prst="rect">
            <a:avLst/>
          </a:prstGeom>
          <a:solidFill>
            <a:srgbClr val="002B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4FF64910-7D74-56FD-6767-CE3140C84BE1}"/>
              </a:ext>
            </a:extLst>
          </p:cNvPr>
          <p:cNvSpPr/>
          <p:nvPr userDrawn="1"/>
        </p:nvSpPr>
        <p:spPr>
          <a:xfrm rot="5400000">
            <a:off x="2136455" y="618874"/>
            <a:ext cx="1265445" cy="788276"/>
          </a:xfrm>
          <a:prstGeom prst="triangle">
            <a:avLst/>
          </a:prstGeom>
          <a:solidFill>
            <a:srgbClr val="002B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8">
            <a:extLst>
              <a:ext uri="{FF2B5EF4-FFF2-40B4-BE49-F238E27FC236}">
                <a16:creationId xmlns:a16="http://schemas.microsoft.com/office/drawing/2014/main" id="{D61B5AFC-7C97-8B20-B821-B8950DF85F4F}"/>
              </a:ext>
            </a:extLst>
          </p:cNvPr>
          <p:cNvSpPr>
            <a:spLocks noGrp="1"/>
          </p:cNvSpPr>
          <p:nvPr>
            <p:ph type="title"/>
          </p:nvPr>
        </p:nvSpPr>
        <p:spPr>
          <a:xfrm>
            <a:off x="293630" y="320172"/>
            <a:ext cx="2198268" cy="1325563"/>
          </a:xfrm>
        </p:spPr>
        <p:txBody>
          <a:bodyPr>
            <a:noAutofit/>
          </a:bodyPr>
          <a:lstStyle>
            <a:lvl1pPr>
              <a:defRPr sz="3200">
                <a:solidFill>
                  <a:schemeClr val="bg1"/>
                </a:solidFill>
                <a:latin typeface="Franklin Gothic Medium" panose="020B0603020102020204" pitchFamily="34" charset="0"/>
              </a:defRPr>
            </a:lvl1pPr>
          </a:lstStyle>
          <a:p>
            <a:r>
              <a:rPr lang="en-US"/>
              <a:t>Click to edit Master title style</a:t>
            </a:r>
          </a:p>
        </p:txBody>
      </p:sp>
    </p:spTree>
    <p:extLst>
      <p:ext uri="{BB962C8B-B14F-4D97-AF65-F5344CB8AC3E}">
        <p14:creationId xmlns:p14="http://schemas.microsoft.com/office/powerpoint/2010/main" val="32172178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1 -green">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2390693" y="946484"/>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13" name="Text Placeholder 12">
            <a:extLst>
              <a:ext uri="{FF2B5EF4-FFF2-40B4-BE49-F238E27FC236}">
                <a16:creationId xmlns:a16="http://schemas.microsoft.com/office/drawing/2014/main" id="{D012BFE2-0CCB-578A-559A-8D1EB54F565C}"/>
              </a:ext>
            </a:extLst>
          </p:cNvPr>
          <p:cNvSpPr>
            <a:spLocks noGrp="1"/>
          </p:cNvSpPr>
          <p:nvPr>
            <p:ph type="body" sz="quarter" idx="11" hasCustomPrompt="1"/>
          </p:nvPr>
        </p:nvSpPr>
        <p:spPr>
          <a:xfrm>
            <a:off x="2390692" y="1540845"/>
            <a:ext cx="8694739"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625726" y="6064376"/>
            <a:ext cx="2021223" cy="432677"/>
          </a:xfrm>
          <a:prstGeom prst="rect">
            <a:avLst/>
          </a:prstGeom>
        </p:spPr>
        <p:txBody>
          <a:bodyPr/>
          <a:lstStyle>
            <a:lvl1pPr marL="0" indent="0">
              <a:buNone/>
              <a:defRPr sz="1800" b="1" spc="300">
                <a:solidFill>
                  <a:schemeClr val="bg1"/>
                </a:solidFill>
              </a:defRPr>
            </a:lvl1pPr>
            <a:lvl3pPr marL="914377" indent="0" algn="l">
              <a:buFont typeface="Arial" panose="020B0604020202020204" pitchFamily="34" charset="0"/>
              <a:buNone/>
              <a:defRPr/>
            </a:lvl3pPr>
          </a:lstStyle>
          <a:p>
            <a:pPr lvl="0"/>
            <a:r>
              <a:rPr lang="en-US"/>
              <a:t>MONTH 2024</a:t>
            </a:r>
          </a:p>
        </p:txBody>
      </p:sp>
      <p:cxnSp>
        <p:nvCxnSpPr>
          <p:cNvPr id="2" name="Straight Connector 1">
            <a:extLst>
              <a:ext uri="{FF2B5EF4-FFF2-40B4-BE49-F238E27FC236}">
                <a16:creationId xmlns:a16="http://schemas.microsoft.com/office/drawing/2014/main" id="{B5590243-0B56-53E5-E3C6-D02EFE2FA9C2}"/>
              </a:ext>
            </a:extLst>
          </p:cNvPr>
          <p:cNvCxnSpPr/>
          <p:nvPr userDrawn="1"/>
        </p:nvCxnSpPr>
        <p:spPr>
          <a:xfrm>
            <a:off x="721527" y="5874027"/>
            <a:ext cx="640080" cy="0"/>
          </a:xfrm>
          <a:prstGeom prst="line">
            <a:avLst/>
          </a:prstGeom>
          <a:ln w="76200">
            <a:solidFill>
              <a:srgbClr val="C3D83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93280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1 - orang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2390693" y="946484"/>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13" name="Text Placeholder 12">
            <a:extLst>
              <a:ext uri="{FF2B5EF4-FFF2-40B4-BE49-F238E27FC236}">
                <a16:creationId xmlns:a16="http://schemas.microsoft.com/office/drawing/2014/main" id="{D012BFE2-0CCB-578A-559A-8D1EB54F565C}"/>
              </a:ext>
            </a:extLst>
          </p:cNvPr>
          <p:cNvSpPr>
            <a:spLocks noGrp="1"/>
          </p:cNvSpPr>
          <p:nvPr>
            <p:ph type="body" sz="quarter" idx="11" hasCustomPrompt="1"/>
          </p:nvPr>
        </p:nvSpPr>
        <p:spPr>
          <a:xfrm>
            <a:off x="2390692" y="1540845"/>
            <a:ext cx="8694739"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625726" y="6064376"/>
            <a:ext cx="2021223" cy="432677"/>
          </a:xfrm>
          <a:prstGeom prst="rect">
            <a:avLst/>
          </a:prstGeom>
        </p:spPr>
        <p:txBody>
          <a:bodyPr/>
          <a:lstStyle>
            <a:lvl1pPr marL="0" indent="0">
              <a:buNone/>
              <a:defRPr sz="1800" b="1" spc="300">
                <a:solidFill>
                  <a:schemeClr val="bg1"/>
                </a:solidFill>
              </a:defRPr>
            </a:lvl1pPr>
            <a:lvl3pPr marL="914377" indent="0" algn="l">
              <a:buFont typeface="Arial" panose="020B0604020202020204" pitchFamily="34" charset="0"/>
              <a:buNone/>
              <a:defRPr/>
            </a:lvl3pPr>
          </a:lstStyle>
          <a:p>
            <a:pPr lvl="0"/>
            <a:r>
              <a:rPr lang="en-US"/>
              <a:t>MONTH 2024</a:t>
            </a:r>
          </a:p>
        </p:txBody>
      </p:sp>
      <p:cxnSp>
        <p:nvCxnSpPr>
          <p:cNvPr id="2" name="Straight Connector 1">
            <a:extLst>
              <a:ext uri="{FF2B5EF4-FFF2-40B4-BE49-F238E27FC236}">
                <a16:creationId xmlns:a16="http://schemas.microsoft.com/office/drawing/2014/main" id="{B5590243-0B56-53E5-E3C6-D02EFE2FA9C2}"/>
              </a:ext>
            </a:extLst>
          </p:cNvPr>
          <p:cNvCxnSpPr/>
          <p:nvPr userDrawn="1"/>
        </p:nvCxnSpPr>
        <p:spPr>
          <a:xfrm>
            <a:off x="721527" y="5874027"/>
            <a:ext cx="640080" cy="0"/>
          </a:xfrm>
          <a:prstGeom prst="line">
            <a:avLst/>
          </a:prstGeom>
          <a:ln w="76200">
            <a:solidFill>
              <a:srgbClr val="E35B2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69377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1 - blu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2390693" y="946484"/>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13" name="Text Placeholder 12">
            <a:extLst>
              <a:ext uri="{FF2B5EF4-FFF2-40B4-BE49-F238E27FC236}">
                <a16:creationId xmlns:a16="http://schemas.microsoft.com/office/drawing/2014/main" id="{D012BFE2-0CCB-578A-559A-8D1EB54F565C}"/>
              </a:ext>
            </a:extLst>
          </p:cNvPr>
          <p:cNvSpPr>
            <a:spLocks noGrp="1"/>
          </p:cNvSpPr>
          <p:nvPr>
            <p:ph type="body" sz="quarter" idx="11" hasCustomPrompt="1"/>
          </p:nvPr>
        </p:nvSpPr>
        <p:spPr>
          <a:xfrm>
            <a:off x="2390692" y="1540845"/>
            <a:ext cx="8694739"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625726" y="6064376"/>
            <a:ext cx="2021223" cy="432677"/>
          </a:xfrm>
          <a:prstGeom prst="rect">
            <a:avLst/>
          </a:prstGeom>
        </p:spPr>
        <p:txBody>
          <a:bodyPr/>
          <a:lstStyle>
            <a:lvl1pPr marL="0" indent="0">
              <a:buNone/>
              <a:defRPr sz="1800" b="1" spc="300">
                <a:solidFill>
                  <a:schemeClr val="bg1"/>
                </a:solidFill>
              </a:defRPr>
            </a:lvl1pPr>
            <a:lvl3pPr marL="914377" indent="0" algn="l">
              <a:buFont typeface="Arial" panose="020B0604020202020204" pitchFamily="34" charset="0"/>
              <a:buNone/>
              <a:defRPr/>
            </a:lvl3pPr>
          </a:lstStyle>
          <a:p>
            <a:pPr lvl="0"/>
            <a:r>
              <a:rPr lang="en-US"/>
              <a:t>MONTH 2024</a:t>
            </a:r>
          </a:p>
        </p:txBody>
      </p:sp>
      <p:cxnSp>
        <p:nvCxnSpPr>
          <p:cNvPr id="2" name="Straight Connector 1">
            <a:extLst>
              <a:ext uri="{FF2B5EF4-FFF2-40B4-BE49-F238E27FC236}">
                <a16:creationId xmlns:a16="http://schemas.microsoft.com/office/drawing/2014/main" id="{B5590243-0B56-53E5-E3C6-D02EFE2FA9C2}"/>
              </a:ext>
            </a:extLst>
          </p:cNvPr>
          <p:cNvCxnSpPr/>
          <p:nvPr userDrawn="1"/>
        </p:nvCxnSpPr>
        <p:spPr>
          <a:xfrm>
            <a:off x="721527" y="5874027"/>
            <a:ext cx="640080" cy="0"/>
          </a:xfrm>
          <a:prstGeom prst="line">
            <a:avLst/>
          </a:prstGeom>
          <a:ln w="76200">
            <a:solidFill>
              <a:srgbClr val="C3D83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3302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3D765E8-D6C6-6443-9E84-8CC69B9DC425}"/>
              </a:ext>
            </a:extLst>
          </p:cNvPr>
          <p:cNvSpPr/>
          <p:nvPr userDrawn="1"/>
        </p:nvSpPr>
        <p:spPr>
          <a:xfrm>
            <a:off x="0" y="17"/>
            <a:ext cx="12192000" cy="839223"/>
          </a:xfrm>
          <a:prstGeom prst="rect">
            <a:avLst/>
          </a:prstGeom>
          <a:solidFill>
            <a:srgbClr val="3B1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chemeClr val="accent2">
                  <a:lumMod val="75000"/>
                </a:schemeClr>
              </a:solidFill>
              <a:highlight>
                <a:srgbClr val="B74D13"/>
              </a:highlight>
            </a:endParaRPr>
          </a:p>
        </p:txBody>
      </p:sp>
      <p:pic>
        <p:nvPicPr>
          <p:cNvPr id="18" name="Picture 17" descr="A picture containing drawing&#10;&#10;Description automatically generated">
            <a:extLst>
              <a:ext uri="{FF2B5EF4-FFF2-40B4-BE49-F238E27FC236}">
                <a16:creationId xmlns:a16="http://schemas.microsoft.com/office/drawing/2014/main" id="{BB025679-0DA9-964F-881C-39D8B829140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843" y="1"/>
            <a:ext cx="660791" cy="617696"/>
          </a:xfrm>
          <a:prstGeom prst="rect">
            <a:avLst/>
          </a:prstGeom>
        </p:spPr>
      </p:pic>
      <p:sp>
        <p:nvSpPr>
          <p:cNvPr id="17" name="TextBox 16">
            <a:extLst>
              <a:ext uri="{FF2B5EF4-FFF2-40B4-BE49-F238E27FC236}">
                <a16:creationId xmlns:a16="http://schemas.microsoft.com/office/drawing/2014/main" id="{7BE3F799-3B09-6F4A-960E-75D646F0607B}"/>
              </a:ext>
            </a:extLst>
          </p:cNvPr>
          <p:cNvSpPr txBox="1"/>
          <p:nvPr userDrawn="1"/>
        </p:nvSpPr>
        <p:spPr>
          <a:xfrm>
            <a:off x="10661527" y="7496786"/>
            <a:ext cx="246308" cy="492613"/>
          </a:xfrm>
          <a:prstGeom prst="rect">
            <a:avLst/>
          </a:prstGeom>
          <a:noFill/>
        </p:spPr>
        <p:txBody>
          <a:bodyPr wrap="square" rtlCol="0">
            <a:spAutoFit/>
          </a:bodyPr>
          <a:lstStyle/>
          <a:p>
            <a:endParaRPr lang="en-US" sz="2401"/>
          </a:p>
        </p:txBody>
      </p:sp>
    </p:spTree>
    <p:extLst>
      <p:ext uri="{BB962C8B-B14F-4D97-AF65-F5344CB8AC3E}">
        <p14:creationId xmlns:p14="http://schemas.microsoft.com/office/powerpoint/2010/main" val="13641550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3D765E8-D6C6-6443-9E84-8CC69B9DC425}"/>
              </a:ext>
            </a:extLst>
          </p:cNvPr>
          <p:cNvSpPr/>
          <p:nvPr userDrawn="1"/>
        </p:nvSpPr>
        <p:spPr>
          <a:xfrm>
            <a:off x="0" y="18"/>
            <a:ext cx="12192000" cy="839223"/>
          </a:xfrm>
          <a:prstGeom prst="rect">
            <a:avLst/>
          </a:prstGeom>
          <a:solidFill>
            <a:srgbClr val="3B1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chemeClr val="accent2">
                  <a:lumMod val="75000"/>
                </a:schemeClr>
              </a:solidFill>
              <a:highlight>
                <a:srgbClr val="B74D13"/>
              </a:highlight>
            </a:endParaRPr>
          </a:p>
        </p:txBody>
      </p:sp>
      <p:pic>
        <p:nvPicPr>
          <p:cNvPr id="18" name="Picture 17" descr="A picture containing drawing&#10;&#10;Description automatically generated">
            <a:extLst>
              <a:ext uri="{FF2B5EF4-FFF2-40B4-BE49-F238E27FC236}">
                <a16:creationId xmlns:a16="http://schemas.microsoft.com/office/drawing/2014/main" id="{BB025679-0DA9-964F-881C-39D8B829140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845" y="1"/>
            <a:ext cx="660791" cy="617696"/>
          </a:xfrm>
          <a:prstGeom prst="rect">
            <a:avLst/>
          </a:prstGeom>
        </p:spPr>
      </p:pic>
      <p:sp>
        <p:nvSpPr>
          <p:cNvPr id="17" name="TextBox 16">
            <a:extLst>
              <a:ext uri="{FF2B5EF4-FFF2-40B4-BE49-F238E27FC236}">
                <a16:creationId xmlns:a16="http://schemas.microsoft.com/office/drawing/2014/main" id="{7BE3F799-3B09-6F4A-960E-75D646F0607B}"/>
              </a:ext>
            </a:extLst>
          </p:cNvPr>
          <p:cNvSpPr txBox="1"/>
          <p:nvPr userDrawn="1"/>
        </p:nvSpPr>
        <p:spPr>
          <a:xfrm>
            <a:off x="10661527" y="7496787"/>
            <a:ext cx="246308" cy="461793"/>
          </a:xfrm>
          <a:prstGeom prst="rect">
            <a:avLst/>
          </a:prstGeom>
          <a:noFill/>
        </p:spPr>
        <p:txBody>
          <a:bodyPr wrap="square" rtlCol="0">
            <a:spAutoFit/>
          </a:bodyPr>
          <a:lstStyle/>
          <a:p>
            <a:endParaRPr lang="en-US" sz="2401"/>
          </a:p>
        </p:txBody>
      </p:sp>
    </p:spTree>
    <p:extLst>
      <p:ext uri="{BB962C8B-B14F-4D97-AF65-F5344CB8AC3E}">
        <p14:creationId xmlns:p14="http://schemas.microsoft.com/office/powerpoint/2010/main" val="25691369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4 - GREEN - Image WHITE logo">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40" y="496503"/>
            <a:ext cx="8694403" cy="578319"/>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2" y="6320588"/>
            <a:ext cx="866775" cy="513683"/>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40" y="1555750"/>
            <a:ext cx="8694737" cy="578319"/>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3" name="Picture Placeholder 2">
            <a:extLst>
              <a:ext uri="{FF2B5EF4-FFF2-40B4-BE49-F238E27FC236}">
                <a16:creationId xmlns:a16="http://schemas.microsoft.com/office/drawing/2014/main" id="{E3A906D3-8A54-1DE5-31B0-CCE09DD8E77C}"/>
              </a:ext>
            </a:extLst>
          </p:cNvPr>
          <p:cNvSpPr>
            <a:spLocks noGrp="1"/>
          </p:cNvSpPr>
          <p:nvPr>
            <p:ph type="pic" sz="quarter" idx="15"/>
          </p:nvPr>
        </p:nvSpPr>
        <p:spPr>
          <a:xfrm>
            <a:off x="8647114" y="-16043"/>
            <a:ext cx="3544887" cy="6922168"/>
          </a:xfrm>
          <a:custGeom>
            <a:avLst/>
            <a:gdLst>
              <a:gd name="connsiteX0" fmla="*/ 0 w 3544887"/>
              <a:gd name="connsiteY0" fmla="*/ 0 h 6858000"/>
              <a:gd name="connsiteX1" fmla="*/ 3544887 w 3544887"/>
              <a:gd name="connsiteY1" fmla="*/ 0 h 6858000"/>
              <a:gd name="connsiteX2" fmla="*/ 3544887 w 3544887"/>
              <a:gd name="connsiteY2" fmla="*/ 6858000 h 6858000"/>
              <a:gd name="connsiteX3" fmla="*/ 0 w 3544887"/>
              <a:gd name="connsiteY3" fmla="*/ 6858000 h 6858000"/>
              <a:gd name="connsiteX4" fmla="*/ 0 w 3544887"/>
              <a:gd name="connsiteY4" fmla="*/ 0 h 6858000"/>
              <a:gd name="connsiteX0" fmla="*/ 0 w 3544887"/>
              <a:gd name="connsiteY0" fmla="*/ 0 h 6922168"/>
              <a:gd name="connsiteX1" fmla="*/ 3544887 w 3544887"/>
              <a:gd name="connsiteY1" fmla="*/ 0 h 6922168"/>
              <a:gd name="connsiteX2" fmla="*/ 3544887 w 3544887"/>
              <a:gd name="connsiteY2" fmla="*/ 6858000 h 6922168"/>
              <a:gd name="connsiteX3" fmla="*/ 1187116 w 3544887"/>
              <a:gd name="connsiteY3" fmla="*/ 6922168 h 6922168"/>
              <a:gd name="connsiteX4" fmla="*/ 0 w 3544887"/>
              <a:gd name="connsiteY4" fmla="*/ 0 h 692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887" h="6922168">
                <a:moveTo>
                  <a:pt x="0" y="0"/>
                </a:moveTo>
                <a:lnTo>
                  <a:pt x="3544887" y="0"/>
                </a:lnTo>
                <a:lnTo>
                  <a:pt x="3544887" y="6858000"/>
                </a:lnTo>
                <a:lnTo>
                  <a:pt x="1187116" y="6922168"/>
                </a:lnTo>
                <a:lnTo>
                  <a:pt x="0" y="0"/>
                </a:lnTo>
                <a:close/>
              </a:path>
            </a:pathLst>
          </a:custGeom>
        </p:spPr>
        <p:txBody>
          <a:bodyPr/>
          <a:lstStyle>
            <a:lvl1pPr marL="0" indent="0" algn="ctr">
              <a:buNone/>
              <a:defRPr sz="2000" b="1" i="1"/>
            </a:lvl1pPr>
          </a:lstStyle>
          <a:p>
            <a:endParaRPr lang="en-US"/>
          </a:p>
          <a:p>
            <a:endParaRPr lang="en-US"/>
          </a:p>
          <a:p>
            <a:endParaRPr lang="en-US"/>
          </a:p>
          <a:p>
            <a:endParaRPr lang="en-US"/>
          </a:p>
          <a:p>
            <a:br>
              <a:rPr lang="en-US"/>
            </a:br>
            <a:br>
              <a:rPr lang="en-US"/>
            </a:br>
            <a:br>
              <a:rPr lang="en-US"/>
            </a:br>
            <a:r>
              <a:rPr lang="en-US"/>
              <a:t>       Click to replace image with      </a:t>
            </a:r>
            <a:br>
              <a:rPr lang="en-US"/>
            </a:br>
            <a:r>
              <a:rPr lang="en-US"/>
              <a:t>        your own. Or keep as is.</a:t>
            </a:r>
          </a:p>
        </p:txBody>
      </p:sp>
      <p:pic>
        <p:nvPicPr>
          <p:cNvPr id="13" name="Picture 12" descr="A black and white logo&#10;&#10;Description automatically generated">
            <a:extLst>
              <a:ext uri="{FF2B5EF4-FFF2-40B4-BE49-F238E27FC236}">
                <a16:creationId xmlns:a16="http://schemas.microsoft.com/office/drawing/2014/main" id="{4A63C94D-302D-2C1F-951E-4472526EA3A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33188" y="-6671"/>
            <a:ext cx="565288" cy="565288"/>
          </a:xfrm>
          <a:prstGeom prst="rect">
            <a:avLst/>
          </a:prstGeom>
        </p:spPr>
      </p:pic>
      <p:sp>
        <p:nvSpPr>
          <p:cNvPr id="2" name="Text Placeholder 10">
            <a:extLst>
              <a:ext uri="{FF2B5EF4-FFF2-40B4-BE49-F238E27FC236}">
                <a16:creationId xmlns:a16="http://schemas.microsoft.com/office/drawing/2014/main" id="{8130B2CB-A7DB-568E-E6DF-132A1E5593C5}"/>
              </a:ext>
            </a:extLst>
          </p:cNvPr>
          <p:cNvSpPr>
            <a:spLocks noGrp="1"/>
          </p:cNvSpPr>
          <p:nvPr>
            <p:ph type="body" sz="quarter" idx="14" hasCustomPrompt="1"/>
          </p:nvPr>
        </p:nvSpPr>
        <p:spPr>
          <a:xfrm>
            <a:off x="737855" y="2021558"/>
            <a:ext cx="6400883" cy="3930649"/>
          </a:xfrm>
          <a:prstGeom prst="rect">
            <a:avLst/>
          </a:prstGeom>
        </p:spPr>
        <p:txBody>
          <a:bodyPr/>
          <a:lstStyle>
            <a:lvl1pPr marL="285744" indent="-285744">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783" indent="-228594">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754" indent="0">
              <a:buClr>
                <a:schemeClr val="bg2">
                  <a:lumMod val="75000"/>
                </a:schemeClr>
              </a:buClr>
              <a:buNone/>
              <a:defRPr sz="1400"/>
            </a:lvl5pPr>
            <a:lvl6pPr marL="2514537"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131" marR="0" lvl="5"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24072356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ontent 1 - ORANGE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40" y="496503"/>
            <a:ext cx="8694403" cy="578319"/>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2" y="6320588"/>
            <a:ext cx="866775" cy="513683"/>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40" y="1555750"/>
            <a:ext cx="8694737" cy="578319"/>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ED262956-0B92-2A40-D55F-3B983D3AA9C7}"/>
              </a:ext>
            </a:extLst>
          </p:cNvPr>
          <p:cNvSpPr>
            <a:spLocks noGrp="1"/>
          </p:cNvSpPr>
          <p:nvPr>
            <p:ph type="body" sz="quarter" idx="14" hasCustomPrompt="1"/>
          </p:nvPr>
        </p:nvSpPr>
        <p:spPr>
          <a:xfrm>
            <a:off x="737855" y="2021558"/>
            <a:ext cx="6400883" cy="3930649"/>
          </a:xfrm>
          <a:prstGeom prst="rect">
            <a:avLst/>
          </a:prstGeom>
        </p:spPr>
        <p:txBody>
          <a:bodyPr/>
          <a:lstStyle>
            <a:lvl1pPr marL="285744" indent="-285744">
              <a:lnSpc>
                <a:spcPct val="100000"/>
              </a:lnSpc>
              <a:buClr>
                <a:srgbClr val="E35B2A"/>
              </a:buClr>
              <a:buSzPct val="110000"/>
              <a:buFont typeface="Arial" panose="020B0604020202020204" pitchFamily="34" charset="0"/>
              <a:buChar char="•"/>
              <a:defRPr sz="1400">
                <a:solidFill>
                  <a:schemeClr val="bg2">
                    <a:lumMod val="10000"/>
                  </a:schemeClr>
                </a:solidFill>
                <a:latin typeface="+mn-lt"/>
              </a:defRPr>
            </a:lvl1pPr>
            <a:lvl2pPr marL="685783" indent="-228594">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754" indent="0">
              <a:buClr>
                <a:schemeClr val="bg2">
                  <a:lumMod val="75000"/>
                </a:schemeClr>
              </a:buClr>
              <a:buNone/>
              <a:defRPr sz="1400"/>
            </a:lvl5pPr>
            <a:lvl6pPr marL="2514537"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131" marR="0" lvl="5"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13591415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1 - GREEN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40" y="496503"/>
            <a:ext cx="8694403" cy="578319"/>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2" y="6320588"/>
            <a:ext cx="866775" cy="513683"/>
          </a:xfrm>
          <a:prstGeom prst="rect">
            <a:avLst/>
          </a:prstGeom>
        </p:spPr>
        <p:txBody>
          <a:bodyPr/>
          <a:lstStyle>
            <a:lvl1pPr marL="0" indent="0" algn="r">
              <a:buNone/>
              <a:defRPr sz="1400" b="1" spc="300">
                <a:solidFill>
                  <a:schemeClr val="bg1"/>
                </a:solidFill>
              </a:defRPr>
            </a:lvl1pPr>
          </a:lstStyle>
          <a:p>
            <a:pPr lvl="0"/>
            <a:fld id="{7FD67F68-27BB-294D-97E5-36BC83CB06D1}"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40" y="1555750"/>
            <a:ext cx="8694737" cy="578319"/>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1819205A-F0EA-071B-38E5-FA0EA2DC242F}"/>
              </a:ext>
            </a:extLst>
          </p:cNvPr>
          <p:cNvSpPr>
            <a:spLocks noGrp="1"/>
          </p:cNvSpPr>
          <p:nvPr>
            <p:ph type="body" sz="quarter" idx="14" hasCustomPrompt="1"/>
          </p:nvPr>
        </p:nvSpPr>
        <p:spPr>
          <a:xfrm>
            <a:off x="737855" y="2021558"/>
            <a:ext cx="6400883" cy="3930649"/>
          </a:xfrm>
          <a:prstGeom prst="rect">
            <a:avLst/>
          </a:prstGeom>
        </p:spPr>
        <p:txBody>
          <a:bodyPr/>
          <a:lstStyle>
            <a:lvl1pPr marL="285744" indent="-285744">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783" indent="-228594">
              <a:buFont typeface="Arial" panose="020B0604020202020204" pitchFamily="34" charset="0"/>
              <a:buChar char="•"/>
              <a:defRPr sz="1400"/>
            </a:lvl2pPr>
            <a:lvl3pPr>
              <a:buClr>
                <a:schemeClr val="bg2">
                  <a:lumMod val="75000"/>
                </a:schemeClr>
              </a:buClr>
              <a:defRPr sz="1400"/>
            </a:lvl3pPr>
            <a:lvl4pPr marL="1371566" indent="0">
              <a:buClr>
                <a:schemeClr val="bg2">
                  <a:lumMod val="75000"/>
                </a:schemeClr>
              </a:buClr>
              <a:buNone/>
              <a:defRPr sz="1400"/>
            </a:lvl4pPr>
            <a:lvl5pPr marL="1828754" indent="0">
              <a:buClr>
                <a:schemeClr val="bg2">
                  <a:lumMod val="75000"/>
                </a:schemeClr>
              </a:buClr>
              <a:buNone/>
              <a:defRPr sz="1400"/>
            </a:lvl5pPr>
            <a:lvl6pPr marL="2514537"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p>
        </p:txBody>
      </p:sp>
    </p:spTree>
    <p:extLst>
      <p:ext uri="{BB962C8B-B14F-4D97-AF65-F5344CB8AC3E}">
        <p14:creationId xmlns:p14="http://schemas.microsoft.com/office/powerpoint/2010/main" val="20788636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ntent 2 - GREEN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40" y="496503"/>
            <a:ext cx="8694403" cy="578319"/>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2" y="6320588"/>
            <a:ext cx="866775" cy="513683"/>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40" y="1555750"/>
            <a:ext cx="8694737" cy="578319"/>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11" name="Text Placeholder 10">
            <a:extLst>
              <a:ext uri="{FF2B5EF4-FFF2-40B4-BE49-F238E27FC236}">
                <a16:creationId xmlns:a16="http://schemas.microsoft.com/office/drawing/2014/main" id="{ACF43B73-9E31-6EB9-4037-8A6C367AED3F}"/>
              </a:ext>
            </a:extLst>
          </p:cNvPr>
          <p:cNvSpPr>
            <a:spLocks noGrp="1"/>
          </p:cNvSpPr>
          <p:nvPr>
            <p:ph type="body" sz="quarter" idx="14" hasCustomPrompt="1"/>
          </p:nvPr>
        </p:nvSpPr>
        <p:spPr>
          <a:xfrm>
            <a:off x="737855" y="2021558"/>
            <a:ext cx="6400883" cy="3930649"/>
          </a:xfrm>
          <a:prstGeom prst="rect">
            <a:avLst/>
          </a:prstGeom>
        </p:spPr>
        <p:txBody>
          <a:bodyPr/>
          <a:lstStyle>
            <a:lvl1pPr marL="285744" indent="-285744">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783" indent="-228594">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754" indent="0">
              <a:buClr>
                <a:schemeClr val="bg2">
                  <a:lumMod val="75000"/>
                </a:schemeClr>
              </a:buClr>
              <a:buNone/>
              <a:defRPr sz="1400"/>
            </a:lvl5pPr>
            <a:lvl6pPr marL="2514537"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131" marR="0" lvl="5"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37578698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ntent 3 - GREEN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40" y="496503"/>
            <a:ext cx="8694403" cy="578319"/>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2" y="6320588"/>
            <a:ext cx="866775" cy="513683"/>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40" y="1555750"/>
            <a:ext cx="8694737" cy="578319"/>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E3F1FB2E-BA03-0ACF-AA49-BB1FBC21AC30}"/>
              </a:ext>
            </a:extLst>
          </p:cNvPr>
          <p:cNvSpPr>
            <a:spLocks noGrp="1"/>
          </p:cNvSpPr>
          <p:nvPr>
            <p:ph type="body" sz="quarter" idx="14" hasCustomPrompt="1"/>
          </p:nvPr>
        </p:nvSpPr>
        <p:spPr>
          <a:xfrm>
            <a:off x="737855" y="2021558"/>
            <a:ext cx="6400883" cy="3930649"/>
          </a:xfrm>
          <a:prstGeom prst="rect">
            <a:avLst/>
          </a:prstGeom>
        </p:spPr>
        <p:txBody>
          <a:bodyPr/>
          <a:lstStyle>
            <a:lvl1pPr marL="285744" indent="-285744">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783" indent="-228594">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754" indent="0">
              <a:buClr>
                <a:schemeClr val="bg2">
                  <a:lumMod val="75000"/>
                </a:schemeClr>
              </a:buClr>
              <a:buNone/>
              <a:defRPr sz="1400"/>
            </a:lvl5pPr>
            <a:lvl6pPr marL="2514537"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131" marR="0" lvl="5"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9417143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01_Title Slide_a">
    <p:spTree>
      <p:nvGrpSpPr>
        <p:cNvPr id="1" name=""/>
        <p:cNvGrpSpPr/>
        <p:nvPr/>
      </p:nvGrpSpPr>
      <p:grpSpPr>
        <a:xfrm>
          <a:off x="0" y="0"/>
          <a:ext cx="0" cy="0"/>
          <a:chOff x="0" y="0"/>
          <a:chExt cx="0" cy="0"/>
        </a:xfrm>
      </p:grpSpPr>
      <p:sp>
        <p:nvSpPr>
          <p:cNvPr id="10" name="Rectangle 9"/>
          <p:cNvSpPr/>
          <p:nvPr userDrawn="1"/>
        </p:nvSpPr>
        <p:spPr>
          <a:xfrm>
            <a:off x="0" y="1"/>
            <a:ext cx="12192000" cy="597023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userDrawn="1"/>
        </p:nvSpPr>
        <p:spPr>
          <a:xfrm>
            <a:off x="0" y="5970229"/>
            <a:ext cx="12192000" cy="88777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ctrTitle"/>
          </p:nvPr>
        </p:nvSpPr>
        <p:spPr>
          <a:xfrm>
            <a:off x="1464062" y="1947337"/>
            <a:ext cx="9525673" cy="1549399"/>
          </a:xfrm>
        </p:spPr>
        <p:txBody>
          <a:bodyPr>
            <a:noAutofit/>
          </a:bodyPr>
          <a:lstStyle>
            <a:lvl1pPr algn="l">
              <a:defRPr sz="5867">
                <a:solidFill>
                  <a:schemeClr val="bg1"/>
                </a:solidFill>
                <a:latin typeface="Franklin Gothic Book"/>
              </a:defRPr>
            </a:lvl1pPr>
          </a:lstStyle>
          <a:p>
            <a:r>
              <a:rPr lang="en-US"/>
              <a:t>Click to edit Master title style</a:t>
            </a:r>
          </a:p>
        </p:txBody>
      </p:sp>
      <p:sp>
        <p:nvSpPr>
          <p:cNvPr id="3" name="Subtitle 2"/>
          <p:cNvSpPr>
            <a:spLocks noGrp="1"/>
          </p:cNvSpPr>
          <p:nvPr>
            <p:ph type="subTitle" idx="1"/>
          </p:nvPr>
        </p:nvSpPr>
        <p:spPr>
          <a:xfrm>
            <a:off x="1464061" y="3496735"/>
            <a:ext cx="8611275" cy="857251"/>
          </a:xfrm>
        </p:spPr>
        <p:txBody>
          <a:bodyPr>
            <a:normAutofit/>
          </a:bodyPr>
          <a:lstStyle>
            <a:lvl1pPr marL="0" indent="0" algn="l">
              <a:buNone/>
              <a:defRPr sz="2933">
                <a:solidFill>
                  <a:schemeClr val="bg1"/>
                </a:solidFill>
                <a:latin typeface="Franklin Gothic Book"/>
                <a:cs typeface="Franklin Gothic Book"/>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9" name="Parallelogram 8"/>
          <p:cNvSpPr/>
          <p:nvPr userDrawn="1"/>
        </p:nvSpPr>
        <p:spPr>
          <a:xfrm flipH="1">
            <a:off x="1464061" y="1648495"/>
            <a:ext cx="991272" cy="60959"/>
          </a:xfrm>
          <a:prstGeom prst="parallelogram">
            <a:avLst/>
          </a:prstGeom>
          <a:solidFill>
            <a:srgbClr val="9FA6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4" name="Picture 3" descr="ThinShearedLines_BlueYellowRe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74652"/>
            <a:ext cx="12192000" cy="922528"/>
          </a:xfrm>
          <a:prstGeom prst="rect">
            <a:avLst/>
          </a:prstGeom>
        </p:spPr>
      </p:pic>
      <p:pic>
        <p:nvPicPr>
          <p:cNvPr id="6" name="Picture 5">
            <a:extLst>
              <a:ext uri="{FF2B5EF4-FFF2-40B4-BE49-F238E27FC236}">
                <a16:creationId xmlns:a16="http://schemas.microsoft.com/office/drawing/2014/main" id="{76B6A90F-0C50-4B6B-BC90-07766DB996FF}"/>
              </a:ext>
            </a:extLst>
          </p:cNvPr>
          <p:cNvPicPr>
            <a:picLocks noChangeAspect="1"/>
          </p:cNvPicPr>
          <p:nvPr userDrawn="1"/>
        </p:nvPicPr>
        <p:blipFill rotWithShape="1">
          <a:blip r:embed="rId3"/>
          <a:srcRect l="16072" r="28789"/>
          <a:stretch/>
        </p:blipFill>
        <p:spPr>
          <a:xfrm>
            <a:off x="6341533" y="6134745"/>
            <a:ext cx="5372608" cy="530675"/>
          </a:xfrm>
          <a:prstGeom prst="rect">
            <a:avLst/>
          </a:prstGeom>
        </p:spPr>
      </p:pic>
      <p:pic>
        <p:nvPicPr>
          <p:cNvPr id="12" name="Picture 11" descr="Text&#10;&#10;Description automatically generated">
            <a:extLst>
              <a:ext uri="{FF2B5EF4-FFF2-40B4-BE49-F238E27FC236}">
                <a16:creationId xmlns:a16="http://schemas.microsoft.com/office/drawing/2014/main" id="{8A69F5AC-199E-4D79-B5AD-328EB323BD36}"/>
              </a:ext>
            </a:extLst>
          </p:cNvPr>
          <p:cNvPicPr>
            <a:picLocks noChangeAspect="1"/>
          </p:cNvPicPr>
          <p:nvPr userDrawn="1"/>
        </p:nvPicPr>
        <p:blipFill>
          <a:blip r:embed="rId4"/>
          <a:stretch>
            <a:fillRect/>
          </a:stretch>
        </p:blipFill>
        <p:spPr>
          <a:xfrm>
            <a:off x="477859" y="6149162"/>
            <a:ext cx="1838019" cy="501844"/>
          </a:xfrm>
          <a:prstGeom prst="rect">
            <a:avLst/>
          </a:prstGeom>
        </p:spPr>
      </p:pic>
    </p:spTree>
    <p:extLst>
      <p:ext uri="{BB962C8B-B14F-4D97-AF65-F5344CB8AC3E}">
        <p14:creationId xmlns:p14="http://schemas.microsoft.com/office/powerpoint/2010/main" val="6529175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02_Title Slide_a">
    <p:spTree>
      <p:nvGrpSpPr>
        <p:cNvPr id="1" name=""/>
        <p:cNvGrpSpPr/>
        <p:nvPr/>
      </p:nvGrpSpPr>
      <p:grpSpPr>
        <a:xfrm>
          <a:off x="0" y="0"/>
          <a:ext cx="0" cy="0"/>
          <a:chOff x="0" y="0"/>
          <a:chExt cx="0" cy="0"/>
        </a:xfrm>
      </p:grpSpPr>
      <p:sp>
        <p:nvSpPr>
          <p:cNvPr id="10" name="Rectangle 9"/>
          <p:cNvSpPr/>
          <p:nvPr userDrawn="1"/>
        </p:nvSpPr>
        <p:spPr>
          <a:xfrm>
            <a:off x="0" y="349251"/>
            <a:ext cx="12192000" cy="5620980"/>
          </a:xfrm>
          <a:prstGeom prst="rect">
            <a:avLst/>
          </a:prstGeom>
          <a:solidFill>
            <a:srgbClr val="002D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userDrawn="1"/>
        </p:nvSpPr>
        <p:spPr>
          <a:xfrm>
            <a:off x="0" y="5970229"/>
            <a:ext cx="12192000" cy="88777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ctrTitle"/>
          </p:nvPr>
        </p:nvSpPr>
        <p:spPr>
          <a:xfrm>
            <a:off x="1464062" y="1947337"/>
            <a:ext cx="9525673" cy="1549399"/>
          </a:xfrm>
        </p:spPr>
        <p:txBody>
          <a:bodyPr>
            <a:noAutofit/>
          </a:bodyPr>
          <a:lstStyle>
            <a:lvl1pPr algn="l">
              <a:defRPr sz="5867">
                <a:solidFill>
                  <a:schemeClr val="bg1"/>
                </a:solidFill>
                <a:latin typeface="Franklin Gothic Book"/>
              </a:defRPr>
            </a:lvl1pPr>
          </a:lstStyle>
          <a:p>
            <a:r>
              <a:rPr lang="en-US"/>
              <a:t>Click to edit Master title style</a:t>
            </a:r>
          </a:p>
        </p:txBody>
      </p:sp>
      <p:sp>
        <p:nvSpPr>
          <p:cNvPr id="3" name="Subtitle 2"/>
          <p:cNvSpPr>
            <a:spLocks noGrp="1"/>
          </p:cNvSpPr>
          <p:nvPr>
            <p:ph type="subTitle" idx="1"/>
          </p:nvPr>
        </p:nvSpPr>
        <p:spPr>
          <a:xfrm>
            <a:off x="1464061" y="3496735"/>
            <a:ext cx="8611275" cy="857251"/>
          </a:xfrm>
        </p:spPr>
        <p:txBody>
          <a:bodyPr>
            <a:normAutofit/>
          </a:bodyPr>
          <a:lstStyle>
            <a:lvl1pPr marL="0" indent="0" algn="l">
              <a:buNone/>
              <a:defRPr sz="2933">
                <a:solidFill>
                  <a:schemeClr val="bg1"/>
                </a:solidFill>
                <a:latin typeface="Franklin Gothic Book"/>
                <a:cs typeface="Franklin Gothic Book"/>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9" name="Parallelogram 8"/>
          <p:cNvSpPr/>
          <p:nvPr userDrawn="1"/>
        </p:nvSpPr>
        <p:spPr>
          <a:xfrm flipH="1">
            <a:off x="1464061" y="1648495"/>
            <a:ext cx="991272" cy="60959"/>
          </a:xfrm>
          <a:prstGeom prst="parallelogram">
            <a:avLst/>
          </a:prstGeom>
          <a:solidFill>
            <a:srgbClr val="9FA6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8" name="Picture 17" descr="HeaderBar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85216"/>
          </a:xfrm>
          <a:prstGeom prst="rect">
            <a:avLst/>
          </a:prstGeom>
        </p:spPr>
      </p:pic>
      <p:pic>
        <p:nvPicPr>
          <p:cNvPr id="11" name="Picture 10">
            <a:extLst>
              <a:ext uri="{FF2B5EF4-FFF2-40B4-BE49-F238E27FC236}">
                <a16:creationId xmlns:a16="http://schemas.microsoft.com/office/drawing/2014/main" id="{46CABFEB-D31E-433F-A420-C1A2ADBABCA5}"/>
              </a:ext>
            </a:extLst>
          </p:cNvPr>
          <p:cNvPicPr>
            <a:picLocks noChangeAspect="1"/>
          </p:cNvPicPr>
          <p:nvPr userDrawn="1"/>
        </p:nvPicPr>
        <p:blipFill rotWithShape="1">
          <a:blip r:embed="rId3"/>
          <a:srcRect l="16072" r="28789"/>
          <a:stretch/>
        </p:blipFill>
        <p:spPr>
          <a:xfrm>
            <a:off x="6341533" y="6134745"/>
            <a:ext cx="5372608" cy="530675"/>
          </a:xfrm>
          <a:prstGeom prst="rect">
            <a:avLst/>
          </a:prstGeom>
        </p:spPr>
      </p:pic>
      <p:pic>
        <p:nvPicPr>
          <p:cNvPr id="12" name="Picture 11" descr="Text&#10;&#10;Description automatically generated">
            <a:extLst>
              <a:ext uri="{FF2B5EF4-FFF2-40B4-BE49-F238E27FC236}">
                <a16:creationId xmlns:a16="http://schemas.microsoft.com/office/drawing/2014/main" id="{8DFA592C-96EA-4C7F-91EC-5C3020D22DFA}"/>
              </a:ext>
            </a:extLst>
          </p:cNvPr>
          <p:cNvPicPr>
            <a:picLocks noChangeAspect="1"/>
          </p:cNvPicPr>
          <p:nvPr userDrawn="1"/>
        </p:nvPicPr>
        <p:blipFill>
          <a:blip r:embed="rId4"/>
          <a:stretch>
            <a:fillRect/>
          </a:stretch>
        </p:blipFill>
        <p:spPr>
          <a:xfrm>
            <a:off x="477859" y="6149162"/>
            <a:ext cx="1838019" cy="501844"/>
          </a:xfrm>
          <a:prstGeom prst="rect">
            <a:avLst/>
          </a:prstGeom>
        </p:spPr>
      </p:pic>
    </p:spTree>
    <p:extLst>
      <p:ext uri="{BB962C8B-B14F-4D97-AF65-F5344CB8AC3E}">
        <p14:creationId xmlns:p14="http://schemas.microsoft.com/office/powerpoint/2010/main" val="77458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03_Title and Content_a">
    <p:spTree>
      <p:nvGrpSpPr>
        <p:cNvPr id="1" name=""/>
        <p:cNvGrpSpPr/>
        <p:nvPr/>
      </p:nvGrpSpPr>
      <p:grpSpPr>
        <a:xfrm>
          <a:off x="0" y="0"/>
          <a:ext cx="0" cy="0"/>
          <a:chOff x="0" y="0"/>
          <a:chExt cx="0" cy="0"/>
        </a:xfrm>
      </p:grpSpPr>
      <p:sp>
        <p:nvSpPr>
          <p:cNvPr id="2" name="Title 1"/>
          <p:cNvSpPr>
            <a:spLocks noGrp="1"/>
          </p:cNvSpPr>
          <p:nvPr>
            <p:ph type="title"/>
          </p:nvPr>
        </p:nvSpPr>
        <p:spPr>
          <a:xfrm>
            <a:off x="1651000" y="1377950"/>
            <a:ext cx="9144000" cy="1290639"/>
          </a:xfrm>
        </p:spPr>
        <p:txBody>
          <a:bodyPr>
            <a:normAutofit/>
          </a:bodyPr>
          <a:lstStyle>
            <a:lvl1pPr algn="l">
              <a:defRPr sz="5067" baseline="0">
                <a:solidFill>
                  <a:srgbClr val="D9531E"/>
                </a:solidFill>
                <a:latin typeface="Franklin Gothic Book"/>
              </a:defRPr>
            </a:lvl1pPr>
          </a:lstStyle>
          <a:p>
            <a:r>
              <a:rPr lang="en-US"/>
              <a:t>Click to edit Master title style</a:t>
            </a:r>
          </a:p>
        </p:txBody>
      </p:sp>
      <p:sp>
        <p:nvSpPr>
          <p:cNvPr id="3" name="Content Placeholder 2"/>
          <p:cNvSpPr>
            <a:spLocks noGrp="1"/>
          </p:cNvSpPr>
          <p:nvPr>
            <p:ph idx="1"/>
          </p:nvPr>
        </p:nvSpPr>
        <p:spPr>
          <a:xfrm>
            <a:off x="1651000" y="2914650"/>
            <a:ext cx="9144000" cy="2241551"/>
          </a:xfrm>
        </p:spPr>
        <p:txBody>
          <a:bodyPr>
            <a:normAutofit/>
          </a:bodyPr>
          <a:lstStyle>
            <a:lvl1pPr marL="0" indent="0">
              <a:spcBef>
                <a:spcPts val="0"/>
              </a:spcBef>
              <a:buFontTx/>
              <a:buNone/>
              <a:defRPr sz="2933" baseline="0">
                <a:solidFill>
                  <a:schemeClr val="tx1"/>
                </a:solidFill>
                <a:latin typeface="Franklin Gothic Book"/>
              </a:defRPr>
            </a:lvl1pPr>
            <a:lvl2pPr marL="0" indent="0">
              <a:spcBef>
                <a:spcPts val="0"/>
              </a:spcBef>
              <a:buFontTx/>
              <a:buNone/>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0" indent="0">
              <a:spcBef>
                <a:spcPts val="0"/>
              </a:spcBef>
              <a:buFontTx/>
              <a:buNone/>
              <a:defRPr sz="2933"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pic>
        <p:nvPicPr>
          <p:cNvPr id="15" name="Picture 14"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03200"/>
            <a:ext cx="12192000" cy="105664"/>
          </a:xfrm>
          <a:prstGeom prst="rect">
            <a:avLst/>
          </a:prstGeom>
        </p:spPr>
      </p:pic>
      <p:sp>
        <p:nvSpPr>
          <p:cNvPr id="8" name="Rectangle 7"/>
          <p:cNvSpPr/>
          <p:nvPr userDrawn="1"/>
        </p:nvSpPr>
        <p:spPr>
          <a:xfrm>
            <a:off x="0" y="5970229"/>
            <a:ext cx="12192000" cy="887771"/>
          </a:xfrm>
          <a:prstGeom prst="rect">
            <a:avLst/>
          </a:prstGeom>
          <a:solidFill>
            <a:srgbClr val="002D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6" name="Picture 5" descr="Logo, company name&#10;&#10;Description automatically generated">
            <a:extLst>
              <a:ext uri="{FF2B5EF4-FFF2-40B4-BE49-F238E27FC236}">
                <a16:creationId xmlns:a16="http://schemas.microsoft.com/office/drawing/2014/main" id="{98863517-4378-4C07-B9DA-A50B46F7EE28}"/>
              </a:ext>
            </a:extLst>
          </p:cNvPr>
          <p:cNvPicPr>
            <a:picLocks noChangeAspect="1"/>
          </p:cNvPicPr>
          <p:nvPr userDrawn="1"/>
        </p:nvPicPr>
        <p:blipFill>
          <a:blip r:embed="rId3"/>
          <a:stretch>
            <a:fillRect/>
          </a:stretch>
        </p:blipFill>
        <p:spPr>
          <a:xfrm>
            <a:off x="241300" y="5060791"/>
            <a:ext cx="2667000" cy="2667000"/>
          </a:xfrm>
          <a:prstGeom prst="rect">
            <a:avLst/>
          </a:prstGeom>
        </p:spPr>
      </p:pic>
      <p:pic>
        <p:nvPicPr>
          <p:cNvPr id="9" name="Picture 8">
            <a:extLst>
              <a:ext uri="{FF2B5EF4-FFF2-40B4-BE49-F238E27FC236}">
                <a16:creationId xmlns:a16="http://schemas.microsoft.com/office/drawing/2014/main" id="{489952FB-5DBB-46EB-81A4-8A5F8E259B7A}"/>
              </a:ext>
            </a:extLst>
          </p:cNvPr>
          <p:cNvPicPr>
            <a:picLocks noChangeAspect="1"/>
          </p:cNvPicPr>
          <p:nvPr userDrawn="1"/>
        </p:nvPicPr>
        <p:blipFill>
          <a:blip r:embed="rId4"/>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3782206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4_Title and Content_a">
    <p:spTree>
      <p:nvGrpSpPr>
        <p:cNvPr id="1" name=""/>
        <p:cNvGrpSpPr/>
        <p:nvPr/>
      </p:nvGrpSpPr>
      <p:grpSpPr>
        <a:xfrm>
          <a:off x="0" y="0"/>
          <a:ext cx="0" cy="0"/>
          <a:chOff x="0" y="0"/>
          <a:chExt cx="0" cy="0"/>
        </a:xfrm>
      </p:grpSpPr>
      <p:sp>
        <p:nvSpPr>
          <p:cNvPr id="8" name="Title 1"/>
          <p:cNvSpPr>
            <a:spLocks noGrp="1"/>
          </p:cNvSpPr>
          <p:nvPr>
            <p:ph type="title"/>
          </p:nvPr>
        </p:nvSpPr>
        <p:spPr>
          <a:xfrm>
            <a:off x="1645019" y="1793128"/>
            <a:ext cx="2142076" cy="1375824"/>
          </a:xfrm>
        </p:spPr>
        <p:txBody>
          <a:bodyPr>
            <a:normAutofit/>
          </a:bodyPr>
          <a:lstStyle>
            <a:lvl1pPr algn="ctr">
              <a:defRPr sz="2933" baseline="0">
                <a:solidFill>
                  <a:schemeClr val="accent2"/>
                </a:solidFill>
                <a:latin typeface="Franklin Gothic Book"/>
              </a:defRPr>
            </a:lvl1pPr>
          </a:lstStyle>
          <a:p>
            <a:r>
              <a:rPr lang="en-US"/>
              <a:t>Click to edit Master title style</a:t>
            </a:r>
          </a:p>
        </p:txBody>
      </p:sp>
      <p:sp>
        <p:nvSpPr>
          <p:cNvPr id="10" name="Rectangle 9"/>
          <p:cNvSpPr/>
          <p:nvPr userDrawn="1"/>
        </p:nvSpPr>
        <p:spPr>
          <a:xfrm>
            <a:off x="1106520" y="623882"/>
            <a:ext cx="3219075" cy="3714317"/>
          </a:xfrm>
          <a:prstGeom prst="rect">
            <a:avLst/>
          </a:prstGeom>
          <a:no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6"/>
          <p:cNvSpPr>
            <a:spLocks noGrp="1"/>
          </p:cNvSpPr>
          <p:nvPr>
            <p:ph type="body" sz="quarter" idx="11" hasCustomPrompt="1"/>
          </p:nvPr>
        </p:nvSpPr>
        <p:spPr>
          <a:xfrm>
            <a:off x="229339" y="4627760"/>
            <a:ext cx="4973437" cy="1110637"/>
          </a:xfrm>
        </p:spPr>
        <p:txBody>
          <a:bodyPr>
            <a:normAutofit/>
          </a:bodyPr>
          <a:lstStyle>
            <a:lvl1pPr marL="0" indent="0" algn="ctr">
              <a:buNone/>
              <a:defRPr sz="2400" baseline="0">
                <a:latin typeface="Franklin Gothic Book" panose="020B0503020102020204" pitchFamily="34" charset="0"/>
              </a:defRPr>
            </a:lvl1pPr>
          </a:lstStyle>
          <a:p>
            <a:pPr lvl="0"/>
            <a:r>
              <a:rPr lang="en-US"/>
              <a:t>Click to edit sub master text styles</a:t>
            </a:r>
          </a:p>
        </p:txBody>
      </p:sp>
      <p:pic>
        <p:nvPicPr>
          <p:cNvPr id="13" name="Picture 12"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9339" y="4456635"/>
            <a:ext cx="4973437" cy="113396"/>
          </a:xfrm>
          <a:prstGeom prst="rect">
            <a:avLst/>
          </a:prstGeom>
        </p:spPr>
      </p:pic>
      <p:sp>
        <p:nvSpPr>
          <p:cNvPr id="14" name="Content Placeholder 2"/>
          <p:cNvSpPr>
            <a:spLocks noGrp="1" noChangeAspect="1"/>
          </p:cNvSpPr>
          <p:nvPr>
            <p:ph idx="1"/>
          </p:nvPr>
        </p:nvSpPr>
        <p:spPr>
          <a:xfrm>
            <a:off x="6115353" y="623882"/>
            <a:ext cx="5767009" cy="5114516"/>
          </a:xfrm>
        </p:spPr>
        <p:txBody>
          <a:bodyPr>
            <a:normAutofit/>
          </a:bodyPr>
          <a:lstStyle>
            <a:lvl1pPr marL="457177" indent="-457177">
              <a:spcBef>
                <a:spcPts val="0"/>
              </a:spcBef>
              <a:buFont typeface="Arial" panose="020B0604020202020204" pitchFamily="34" charset="0"/>
              <a:buChar char="•"/>
              <a:defRPr sz="2933" baseline="0">
                <a:solidFill>
                  <a:schemeClr val="tx1"/>
                </a:solidFill>
                <a:latin typeface="Franklin Gothic Book"/>
              </a:defRPr>
            </a:lvl1pPr>
            <a:lvl2pPr marL="457177" indent="-457177">
              <a:spcBef>
                <a:spcPts val="0"/>
              </a:spcBef>
              <a:buFont typeface="Arial" panose="020B0604020202020204" pitchFamily="34" charset="0"/>
              <a:buChar char="•"/>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910121" indent="-457177">
              <a:spcBef>
                <a:spcPts val="0"/>
              </a:spcBef>
              <a:buFont typeface="Arial" panose="020B0604020202020204" pitchFamily="34" charset="0"/>
              <a:buChar char="•"/>
              <a:defRPr sz="2667"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vl6pPr marL="1219139" indent="-304784">
              <a:defRPr sz="2400">
                <a:latin typeface="Franklin Gothic Book" panose="020B0503020102020204" pitchFamily="34" charset="0"/>
              </a:defRPr>
            </a:lvl6pPr>
          </a:lstStyle>
          <a:p>
            <a:pPr lvl="0"/>
            <a:r>
              <a:rPr lang="en-US"/>
              <a:t>Edit Master text styles</a:t>
            </a:r>
          </a:p>
          <a:p>
            <a:pPr lvl="3"/>
            <a:r>
              <a:rPr lang="en-US"/>
              <a:t>Second level</a:t>
            </a:r>
          </a:p>
          <a:p>
            <a:pPr lvl="5"/>
            <a:r>
              <a:rPr lang="en-US"/>
              <a:t>Third level</a:t>
            </a:r>
          </a:p>
        </p:txBody>
      </p:sp>
      <p:sp>
        <p:nvSpPr>
          <p:cNvPr id="16" name="Rectangle 15"/>
          <p:cNvSpPr/>
          <p:nvPr userDrawn="1"/>
        </p:nvSpPr>
        <p:spPr>
          <a:xfrm>
            <a:off x="0" y="5970229"/>
            <a:ext cx="12192000" cy="887771"/>
          </a:xfrm>
          <a:prstGeom prst="rect">
            <a:avLst/>
          </a:prstGeom>
          <a:solidFill>
            <a:srgbClr val="002D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9" name="Picture 18" descr="Logo, company name&#10;&#10;Description automatically generated">
            <a:extLst>
              <a:ext uri="{FF2B5EF4-FFF2-40B4-BE49-F238E27FC236}">
                <a16:creationId xmlns:a16="http://schemas.microsoft.com/office/drawing/2014/main" id="{AF53BF2E-C66E-4B3B-96B9-544254A4DA09}"/>
              </a:ext>
            </a:extLst>
          </p:cNvPr>
          <p:cNvPicPr>
            <a:picLocks noChangeAspect="1"/>
          </p:cNvPicPr>
          <p:nvPr userDrawn="1"/>
        </p:nvPicPr>
        <p:blipFill>
          <a:blip r:embed="rId3"/>
          <a:stretch>
            <a:fillRect/>
          </a:stretch>
        </p:blipFill>
        <p:spPr>
          <a:xfrm>
            <a:off x="241300" y="5060791"/>
            <a:ext cx="2667000" cy="2667000"/>
          </a:xfrm>
          <a:prstGeom prst="rect">
            <a:avLst/>
          </a:prstGeom>
        </p:spPr>
      </p:pic>
      <p:pic>
        <p:nvPicPr>
          <p:cNvPr id="20" name="Picture 19">
            <a:extLst>
              <a:ext uri="{FF2B5EF4-FFF2-40B4-BE49-F238E27FC236}">
                <a16:creationId xmlns:a16="http://schemas.microsoft.com/office/drawing/2014/main" id="{F8BD9600-5255-4FE3-8A76-6A1898A05F44}"/>
              </a:ext>
            </a:extLst>
          </p:cNvPr>
          <p:cNvPicPr>
            <a:picLocks noChangeAspect="1"/>
          </p:cNvPicPr>
          <p:nvPr userDrawn="1"/>
        </p:nvPicPr>
        <p:blipFill>
          <a:blip r:embed="rId4"/>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71297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4 - GREEN - Image WHITE logo">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3" name="Picture Placeholder 2">
            <a:extLst>
              <a:ext uri="{FF2B5EF4-FFF2-40B4-BE49-F238E27FC236}">
                <a16:creationId xmlns:a16="http://schemas.microsoft.com/office/drawing/2014/main" id="{E3A906D3-8A54-1DE5-31B0-CCE09DD8E77C}"/>
              </a:ext>
            </a:extLst>
          </p:cNvPr>
          <p:cNvSpPr>
            <a:spLocks noGrp="1"/>
          </p:cNvSpPr>
          <p:nvPr>
            <p:ph type="pic" sz="quarter" idx="15"/>
          </p:nvPr>
        </p:nvSpPr>
        <p:spPr>
          <a:xfrm>
            <a:off x="8647113" y="-16042"/>
            <a:ext cx="3544887" cy="6922168"/>
          </a:xfrm>
          <a:custGeom>
            <a:avLst/>
            <a:gdLst>
              <a:gd name="connsiteX0" fmla="*/ 0 w 3544887"/>
              <a:gd name="connsiteY0" fmla="*/ 0 h 6858000"/>
              <a:gd name="connsiteX1" fmla="*/ 3544887 w 3544887"/>
              <a:gd name="connsiteY1" fmla="*/ 0 h 6858000"/>
              <a:gd name="connsiteX2" fmla="*/ 3544887 w 3544887"/>
              <a:gd name="connsiteY2" fmla="*/ 6858000 h 6858000"/>
              <a:gd name="connsiteX3" fmla="*/ 0 w 3544887"/>
              <a:gd name="connsiteY3" fmla="*/ 6858000 h 6858000"/>
              <a:gd name="connsiteX4" fmla="*/ 0 w 3544887"/>
              <a:gd name="connsiteY4" fmla="*/ 0 h 6858000"/>
              <a:gd name="connsiteX0" fmla="*/ 0 w 3544887"/>
              <a:gd name="connsiteY0" fmla="*/ 0 h 6922168"/>
              <a:gd name="connsiteX1" fmla="*/ 3544887 w 3544887"/>
              <a:gd name="connsiteY1" fmla="*/ 0 h 6922168"/>
              <a:gd name="connsiteX2" fmla="*/ 3544887 w 3544887"/>
              <a:gd name="connsiteY2" fmla="*/ 6858000 h 6922168"/>
              <a:gd name="connsiteX3" fmla="*/ 1187116 w 3544887"/>
              <a:gd name="connsiteY3" fmla="*/ 6922168 h 6922168"/>
              <a:gd name="connsiteX4" fmla="*/ 0 w 3544887"/>
              <a:gd name="connsiteY4" fmla="*/ 0 h 692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887" h="6922168">
                <a:moveTo>
                  <a:pt x="0" y="0"/>
                </a:moveTo>
                <a:lnTo>
                  <a:pt x="3544887" y="0"/>
                </a:lnTo>
                <a:lnTo>
                  <a:pt x="3544887" y="6858000"/>
                </a:lnTo>
                <a:lnTo>
                  <a:pt x="1187116" y="6922168"/>
                </a:lnTo>
                <a:lnTo>
                  <a:pt x="0" y="0"/>
                </a:lnTo>
                <a:close/>
              </a:path>
            </a:pathLst>
          </a:custGeom>
        </p:spPr>
        <p:txBody>
          <a:bodyPr/>
          <a:lstStyle>
            <a:lvl1pPr marL="0" indent="0" algn="ctr">
              <a:buNone/>
              <a:defRPr sz="2000" b="1" i="1"/>
            </a:lvl1pPr>
          </a:lstStyle>
          <a:p>
            <a:endParaRPr lang="en-US"/>
          </a:p>
          <a:p>
            <a:endParaRPr lang="en-US"/>
          </a:p>
          <a:p>
            <a:endParaRPr lang="en-US"/>
          </a:p>
          <a:p>
            <a:endParaRPr lang="en-US"/>
          </a:p>
          <a:p>
            <a:br>
              <a:rPr lang="en-US"/>
            </a:br>
            <a:br>
              <a:rPr lang="en-US"/>
            </a:br>
            <a:br>
              <a:rPr lang="en-US"/>
            </a:br>
            <a:r>
              <a:rPr lang="en-US"/>
              <a:t>       Click to replace image with      </a:t>
            </a:r>
            <a:br>
              <a:rPr lang="en-US"/>
            </a:br>
            <a:r>
              <a:rPr lang="en-US"/>
              <a:t>        your own. Or keep as is.</a:t>
            </a:r>
          </a:p>
        </p:txBody>
      </p:sp>
      <p:pic>
        <p:nvPicPr>
          <p:cNvPr id="13" name="Picture 12" descr="A black and white logo&#10;&#10;Description automatically generated">
            <a:extLst>
              <a:ext uri="{FF2B5EF4-FFF2-40B4-BE49-F238E27FC236}">
                <a16:creationId xmlns:a16="http://schemas.microsoft.com/office/drawing/2014/main" id="{4A63C94D-302D-2C1F-951E-4472526EA3A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33188" y="-6670"/>
            <a:ext cx="565288" cy="565288"/>
          </a:xfrm>
          <a:prstGeom prst="rect">
            <a:avLst/>
          </a:prstGeom>
        </p:spPr>
      </p:pic>
      <p:sp>
        <p:nvSpPr>
          <p:cNvPr id="2" name="Text Placeholder 10">
            <a:extLst>
              <a:ext uri="{FF2B5EF4-FFF2-40B4-BE49-F238E27FC236}">
                <a16:creationId xmlns:a16="http://schemas.microsoft.com/office/drawing/2014/main" id="{8130B2CB-A7DB-568E-E6DF-132A1E5593C5}"/>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3648409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05_Three Content Category_a">
    <p:spTree>
      <p:nvGrpSpPr>
        <p:cNvPr id="1" name=""/>
        <p:cNvGrpSpPr/>
        <p:nvPr/>
      </p:nvGrpSpPr>
      <p:grpSpPr>
        <a:xfrm>
          <a:off x="0" y="0"/>
          <a:ext cx="0" cy="0"/>
          <a:chOff x="0" y="0"/>
          <a:chExt cx="0" cy="0"/>
        </a:xfrm>
      </p:grpSpPr>
      <p:sp>
        <p:nvSpPr>
          <p:cNvPr id="8" name="Title 1"/>
          <p:cNvSpPr>
            <a:spLocks noGrp="1" noChangeAspect="1"/>
          </p:cNvSpPr>
          <p:nvPr>
            <p:ph type="title"/>
          </p:nvPr>
        </p:nvSpPr>
        <p:spPr>
          <a:xfrm>
            <a:off x="178888" y="410547"/>
            <a:ext cx="5931125" cy="1720851"/>
          </a:xfrm>
          <a:noFill/>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9" name="Content Placeholder 2"/>
          <p:cNvSpPr>
            <a:spLocks noGrp="1" noChangeAspect="1"/>
          </p:cNvSpPr>
          <p:nvPr>
            <p:ph idx="1"/>
          </p:nvPr>
        </p:nvSpPr>
        <p:spPr>
          <a:xfrm>
            <a:off x="6341533" y="410549"/>
            <a:ext cx="5668288" cy="5449377"/>
          </a:xfrm>
        </p:spPr>
        <p:txBody>
          <a:bodyPr>
            <a:normAutofit/>
          </a:bodyPr>
          <a:lstStyle>
            <a:lvl1pPr marL="457177" indent="-457177">
              <a:spcBef>
                <a:spcPts val="0"/>
              </a:spcBef>
              <a:buFont typeface="Arial" panose="020B0604020202020204" pitchFamily="34" charset="0"/>
              <a:buChar char="•"/>
              <a:defRPr sz="2933" baseline="0">
                <a:solidFill>
                  <a:schemeClr val="tx1"/>
                </a:solidFill>
                <a:latin typeface="Franklin Gothic Book"/>
              </a:defRPr>
            </a:lvl1pPr>
            <a:lvl2pPr marL="457177" indent="-457177">
              <a:spcBef>
                <a:spcPts val="0"/>
              </a:spcBef>
              <a:buFont typeface="Arial" panose="020B0604020202020204" pitchFamily="34" charset="0"/>
              <a:buChar char="•"/>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910121" indent="-457177">
              <a:spcBef>
                <a:spcPts val="0"/>
              </a:spcBef>
              <a:buFont typeface="Arial" panose="020B0604020202020204" pitchFamily="34" charset="0"/>
              <a:buChar char="•"/>
              <a:defRPr sz="2667"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vl6pPr marL="1219139" indent="-304784">
              <a:defRPr sz="2400">
                <a:latin typeface="Franklin Gothic Book" panose="020B0503020102020204" pitchFamily="34" charset="0"/>
              </a:defRPr>
            </a:lvl6pPr>
          </a:lstStyle>
          <a:p>
            <a:pPr lvl="0"/>
            <a:r>
              <a:rPr lang="en-US"/>
              <a:t>Edit Master text styles</a:t>
            </a:r>
          </a:p>
          <a:p>
            <a:pPr lvl="3"/>
            <a:r>
              <a:rPr lang="en-US"/>
              <a:t>Second level</a:t>
            </a:r>
          </a:p>
          <a:p>
            <a:pPr lvl="5"/>
            <a:r>
              <a:rPr lang="en-US"/>
              <a:t>Third level</a:t>
            </a:r>
          </a:p>
        </p:txBody>
      </p:sp>
      <p:sp>
        <p:nvSpPr>
          <p:cNvPr id="10" name="Text Placeholder 32"/>
          <p:cNvSpPr>
            <a:spLocks noGrp="1"/>
          </p:cNvSpPr>
          <p:nvPr>
            <p:ph type="body" sz="quarter" idx="26"/>
          </p:nvPr>
        </p:nvSpPr>
        <p:spPr>
          <a:xfrm>
            <a:off x="431800" y="2395290"/>
            <a:ext cx="5678213" cy="922407"/>
          </a:xfrm>
        </p:spPr>
        <p:txBody>
          <a:bodyPr/>
          <a:lstStyle>
            <a:lvl1pPr marL="0" indent="0">
              <a:buNone/>
              <a:defRPr sz="2400" b="0">
                <a:latin typeface="Franklin Gothic Book" panose="020B0503020102020204" pitchFamily="34" charset="0"/>
              </a:defRPr>
            </a:lvl1pPr>
            <a:lvl2pPr marL="380982" indent="-380982">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2" name="Rectangle 11"/>
          <p:cNvSpPr>
            <a:spLocks/>
          </p:cNvSpPr>
          <p:nvPr userDrawn="1"/>
        </p:nvSpPr>
        <p:spPr>
          <a:xfrm>
            <a:off x="186209" y="2403296"/>
            <a:ext cx="60959"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32"/>
          <p:cNvSpPr>
            <a:spLocks noGrp="1"/>
          </p:cNvSpPr>
          <p:nvPr>
            <p:ph type="body" sz="quarter" idx="27"/>
          </p:nvPr>
        </p:nvSpPr>
        <p:spPr>
          <a:xfrm>
            <a:off x="431800" y="3597021"/>
            <a:ext cx="5678213" cy="913408"/>
          </a:xfrm>
        </p:spPr>
        <p:txBody>
          <a:bodyPr/>
          <a:lstStyle>
            <a:lvl1pPr marL="0" indent="0">
              <a:buNone/>
              <a:defRPr sz="2400" b="0">
                <a:latin typeface="Franklin Gothic Book" panose="020B0503020102020204" pitchFamily="34" charset="0"/>
              </a:defRPr>
            </a:lvl1pPr>
            <a:lvl2pPr marL="380982" indent="-380982">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4" name="Rectangle 13"/>
          <p:cNvSpPr>
            <a:spLocks/>
          </p:cNvSpPr>
          <p:nvPr userDrawn="1"/>
        </p:nvSpPr>
        <p:spPr>
          <a:xfrm>
            <a:off x="186207" y="3596029"/>
            <a:ext cx="60959"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Text Placeholder 32"/>
          <p:cNvSpPr>
            <a:spLocks noGrp="1"/>
          </p:cNvSpPr>
          <p:nvPr>
            <p:ph type="body" sz="quarter" idx="28"/>
          </p:nvPr>
        </p:nvSpPr>
        <p:spPr>
          <a:xfrm>
            <a:off x="431800" y="4790784"/>
            <a:ext cx="5678213" cy="912379"/>
          </a:xfrm>
        </p:spPr>
        <p:txBody>
          <a:bodyPr/>
          <a:lstStyle>
            <a:lvl1pPr marL="0" indent="0">
              <a:buNone/>
              <a:defRPr sz="2400" b="0">
                <a:latin typeface="Franklin Gothic Book" panose="020B0503020102020204" pitchFamily="34" charset="0"/>
              </a:defRPr>
            </a:lvl1pPr>
            <a:lvl2pPr marL="457177" indent="-457177">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8" name="Rectangle 17"/>
          <p:cNvSpPr>
            <a:spLocks/>
          </p:cNvSpPr>
          <p:nvPr userDrawn="1"/>
        </p:nvSpPr>
        <p:spPr>
          <a:xfrm>
            <a:off x="186206" y="4788763"/>
            <a:ext cx="60959"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1" name="Picture 20"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933"/>
            <a:ext cx="12192000" cy="105664"/>
          </a:xfrm>
          <a:prstGeom prst="rect">
            <a:avLst/>
          </a:prstGeom>
        </p:spPr>
      </p:pic>
      <p:sp>
        <p:nvSpPr>
          <p:cNvPr id="17" name="Rectangle 16"/>
          <p:cNvSpPr/>
          <p:nvPr userDrawn="1"/>
        </p:nvSpPr>
        <p:spPr>
          <a:xfrm>
            <a:off x="0" y="5970229"/>
            <a:ext cx="12192000" cy="887771"/>
          </a:xfrm>
          <a:prstGeom prst="rect">
            <a:avLst/>
          </a:prstGeom>
          <a:solidFill>
            <a:srgbClr val="002D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9" name="Picture 18" descr="Logo, company name&#10;&#10;Description automatically generated">
            <a:extLst>
              <a:ext uri="{FF2B5EF4-FFF2-40B4-BE49-F238E27FC236}">
                <a16:creationId xmlns:a16="http://schemas.microsoft.com/office/drawing/2014/main" id="{24ADC3FB-E701-4B88-9442-2FA9087599A9}"/>
              </a:ext>
            </a:extLst>
          </p:cNvPr>
          <p:cNvPicPr>
            <a:picLocks noChangeAspect="1"/>
          </p:cNvPicPr>
          <p:nvPr userDrawn="1"/>
        </p:nvPicPr>
        <p:blipFill>
          <a:blip r:embed="rId3"/>
          <a:stretch>
            <a:fillRect/>
          </a:stretch>
        </p:blipFill>
        <p:spPr>
          <a:xfrm>
            <a:off x="241300" y="5060791"/>
            <a:ext cx="2667000" cy="2667000"/>
          </a:xfrm>
          <a:prstGeom prst="rect">
            <a:avLst/>
          </a:prstGeom>
        </p:spPr>
      </p:pic>
      <p:pic>
        <p:nvPicPr>
          <p:cNvPr id="22" name="Picture 21">
            <a:extLst>
              <a:ext uri="{FF2B5EF4-FFF2-40B4-BE49-F238E27FC236}">
                <a16:creationId xmlns:a16="http://schemas.microsoft.com/office/drawing/2014/main" id="{4F0B1F51-B8E2-4BC2-877C-FBCFF4B9C88D}"/>
              </a:ext>
            </a:extLst>
          </p:cNvPr>
          <p:cNvPicPr>
            <a:picLocks noChangeAspect="1"/>
          </p:cNvPicPr>
          <p:nvPr userDrawn="1"/>
        </p:nvPicPr>
        <p:blipFill>
          <a:blip r:embed="rId4"/>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28212614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06_Five Content Category_a">
    <p:spTree>
      <p:nvGrpSpPr>
        <p:cNvPr id="1" name=""/>
        <p:cNvGrpSpPr/>
        <p:nvPr/>
      </p:nvGrpSpPr>
      <p:grpSpPr>
        <a:xfrm>
          <a:off x="0" y="0"/>
          <a:ext cx="0" cy="0"/>
          <a:chOff x="0" y="0"/>
          <a:chExt cx="0" cy="0"/>
        </a:xfrm>
      </p:grpSpPr>
      <p:sp>
        <p:nvSpPr>
          <p:cNvPr id="8" name="Title 1"/>
          <p:cNvSpPr>
            <a:spLocks noGrp="1" noChangeAspect="1"/>
          </p:cNvSpPr>
          <p:nvPr>
            <p:ph type="title"/>
          </p:nvPr>
        </p:nvSpPr>
        <p:spPr>
          <a:xfrm>
            <a:off x="178888" y="410547"/>
            <a:ext cx="5931125" cy="1720851"/>
          </a:xfrm>
          <a:noFill/>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9" name="Content Placeholder 2"/>
          <p:cNvSpPr>
            <a:spLocks noGrp="1" noChangeAspect="1"/>
          </p:cNvSpPr>
          <p:nvPr>
            <p:ph idx="1"/>
          </p:nvPr>
        </p:nvSpPr>
        <p:spPr>
          <a:xfrm>
            <a:off x="6341533" y="410549"/>
            <a:ext cx="5668288" cy="5449377"/>
          </a:xfrm>
        </p:spPr>
        <p:txBody>
          <a:bodyPr>
            <a:normAutofit/>
          </a:bodyPr>
          <a:lstStyle>
            <a:lvl1pPr marL="457177" indent="-457177">
              <a:spcBef>
                <a:spcPts val="0"/>
              </a:spcBef>
              <a:buFont typeface="Arial" panose="020B0604020202020204" pitchFamily="34" charset="0"/>
              <a:buChar char="•"/>
              <a:defRPr sz="2933" baseline="0">
                <a:solidFill>
                  <a:schemeClr val="tx1"/>
                </a:solidFill>
                <a:latin typeface="Franklin Gothic Book"/>
              </a:defRPr>
            </a:lvl1pPr>
            <a:lvl2pPr marL="457177" indent="-457177">
              <a:spcBef>
                <a:spcPts val="0"/>
              </a:spcBef>
              <a:buFont typeface="Arial" panose="020B0604020202020204" pitchFamily="34" charset="0"/>
              <a:buChar char="•"/>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910121" indent="-457177">
              <a:spcBef>
                <a:spcPts val="0"/>
              </a:spcBef>
              <a:buFont typeface="Arial" panose="020B0604020202020204" pitchFamily="34" charset="0"/>
              <a:buChar char="•"/>
              <a:defRPr sz="2667"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vl6pPr marL="1219139" indent="-304784">
              <a:defRPr sz="2400">
                <a:latin typeface="Franklin Gothic Book" panose="020B0503020102020204" pitchFamily="34" charset="0"/>
              </a:defRPr>
            </a:lvl6pPr>
          </a:lstStyle>
          <a:p>
            <a:pPr lvl="0"/>
            <a:r>
              <a:rPr lang="en-US"/>
              <a:t>Edit Master text styles</a:t>
            </a:r>
          </a:p>
          <a:p>
            <a:pPr lvl="3"/>
            <a:r>
              <a:rPr lang="en-US"/>
              <a:t>Second level</a:t>
            </a:r>
          </a:p>
          <a:p>
            <a:pPr lvl="5"/>
            <a:r>
              <a:rPr lang="en-US"/>
              <a:t>Third level</a:t>
            </a:r>
          </a:p>
        </p:txBody>
      </p:sp>
      <p:sp>
        <p:nvSpPr>
          <p:cNvPr id="10" name="Text Placeholder 32"/>
          <p:cNvSpPr>
            <a:spLocks noGrp="1"/>
          </p:cNvSpPr>
          <p:nvPr>
            <p:ph type="body" sz="quarter" idx="26"/>
          </p:nvPr>
        </p:nvSpPr>
        <p:spPr>
          <a:xfrm>
            <a:off x="431800" y="2248481"/>
            <a:ext cx="5678213" cy="721732"/>
          </a:xfrm>
        </p:spPr>
        <p:txBody>
          <a:bodyPr/>
          <a:lstStyle>
            <a:lvl1pPr marL="0" indent="0">
              <a:buNone/>
              <a:defRPr sz="2400" b="0">
                <a:latin typeface="Franklin Gothic Book" panose="020B0503020102020204" pitchFamily="34" charset="0"/>
              </a:defRPr>
            </a:lvl1pPr>
            <a:lvl2pPr marL="380982" indent="-380982">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2" name="Rectangle 11"/>
          <p:cNvSpPr>
            <a:spLocks/>
          </p:cNvSpPr>
          <p:nvPr userDrawn="1"/>
        </p:nvSpPr>
        <p:spPr>
          <a:xfrm>
            <a:off x="186209" y="2248480"/>
            <a:ext cx="60959" cy="7315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32"/>
          <p:cNvSpPr>
            <a:spLocks noGrp="1"/>
          </p:cNvSpPr>
          <p:nvPr>
            <p:ph type="body" sz="quarter" idx="27"/>
          </p:nvPr>
        </p:nvSpPr>
        <p:spPr>
          <a:xfrm>
            <a:off x="431800" y="3203811"/>
            <a:ext cx="5678213" cy="735097"/>
          </a:xfrm>
        </p:spPr>
        <p:txBody>
          <a:bodyPr/>
          <a:lstStyle>
            <a:lvl1pPr marL="0" indent="0">
              <a:buNone/>
              <a:defRPr sz="2400" b="0"/>
            </a:lvl1pPr>
            <a:lvl2pPr marL="380982" indent="-380982">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4" name="Rectangle 13"/>
          <p:cNvSpPr>
            <a:spLocks/>
          </p:cNvSpPr>
          <p:nvPr userDrawn="1"/>
        </p:nvSpPr>
        <p:spPr>
          <a:xfrm>
            <a:off x="186207" y="3207388"/>
            <a:ext cx="60959" cy="7315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Text Placeholder 32"/>
          <p:cNvSpPr>
            <a:spLocks noGrp="1"/>
          </p:cNvSpPr>
          <p:nvPr>
            <p:ph type="body" sz="quarter" idx="28"/>
          </p:nvPr>
        </p:nvSpPr>
        <p:spPr>
          <a:xfrm>
            <a:off x="431800" y="4166296"/>
            <a:ext cx="5678213" cy="731520"/>
          </a:xfrm>
        </p:spPr>
        <p:txBody>
          <a:bodyPr/>
          <a:lstStyle>
            <a:lvl1pPr marL="0" indent="0">
              <a:buNone/>
              <a:defRPr sz="2400" b="0">
                <a:latin typeface="Franklin Gothic Book" panose="020B0503020102020204" pitchFamily="34" charset="0"/>
              </a:defRPr>
            </a:lvl1pPr>
            <a:lvl2pPr marL="457177" indent="-457177">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8" name="Rectangle 17"/>
          <p:cNvSpPr>
            <a:spLocks/>
          </p:cNvSpPr>
          <p:nvPr userDrawn="1"/>
        </p:nvSpPr>
        <p:spPr>
          <a:xfrm>
            <a:off x="186206" y="4166296"/>
            <a:ext cx="60959" cy="7315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Text Placeholder 32"/>
          <p:cNvSpPr>
            <a:spLocks noGrp="1"/>
          </p:cNvSpPr>
          <p:nvPr>
            <p:ph type="body" sz="quarter" idx="29"/>
          </p:nvPr>
        </p:nvSpPr>
        <p:spPr>
          <a:xfrm>
            <a:off x="431800" y="5131415"/>
            <a:ext cx="5678213" cy="728511"/>
          </a:xfrm>
        </p:spPr>
        <p:txBody>
          <a:bodyPr/>
          <a:lstStyle>
            <a:lvl1pPr marL="0" indent="0">
              <a:buNone/>
              <a:defRPr sz="2400" b="0">
                <a:latin typeface="Franklin Gothic Book" panose="020B0503020102020204" pitchFamily="34" charset="0"/>
              </a:defRPr>
            </a:lvl1pPr>
            <a:lvl2pPr marL="457177" indent="-457177">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20" name="Rectangle 19"/>
          <p:cNvSpPr>
            <a:spLocks/>
          </p:cNvSpPr>
          <p:nvPr userDrawn="1"/>
        </p:nvSpPr>
        <p:spPr>
          <a:xfrm>
            <a:off x="178889" y="5128405"/>
            <a:ext cx="60959" cy="7315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1" name="Picture 20"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933"/>
            <a:ext cx="12192000" cy="105664"/>
          </a:xfrm>
          <a:prstGeom prst="rect">
            <a:avLst/>
          </a:prstGeom>
        </p:spPr>
      </p:pic>
      <p:sp>
        <p:nvSpPr>
          <p:cNvPr id="17" name="Rectangle 16"/>
          <p:cNvSpPr/>
          <p:nvPr userDrawn="1"/>
        </p:nvSpPr>
        <p:spPr>
          <a:xfrm>
            <a:off x="0" y="5970229"/>
            <a:ext cx="12192000" cy="887771"/>
          </a:xfrm>
          <a:prstGeom prst="rect">
            <a:avLst/>
          </a:prstGeom>
          <a:solidFill>
            <a:srgbClr val="002D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22" name="Picture 21" descr="Logo, company name&#10;&#10;Description automatically generated">
            <a:extLst>
              <a:ext uri="{FF2B5EF4-FFF2-40B4-BE49-F238E27FC236}">
                <a16:creationId xmlns:a16="http://schemas.microsoft.com/office/drawing/2014/main" id="{3B5DDE75-C9CE-4ECA-90BC-E81ACE6F4ABE}"/>
              </a:ext>
            </a:extLst>
          </p:cNvPr>
          <p:cNvPicPr>
            <a:picLocks noChangeAspect="1"/>
          </p:cNvPicPr>
          <p:nvPr userDrawn="1"/>
        </p:nvPicPr>
        <p:blipFill>
          <a:blip r:embed="rId3"/>
          <a:stretch>
            <a:fillRect/>
          </a:stretch>
        </p:blipFill>
        <p:spPr>
          <a:xfrm>
            <a:off x="241300" y="5060791"/>
            <a:ext cx="2667000" cy="2667000"/>
          </a:xfrm>
          <a:prstGeom prst="rect">
            <a:avLst/>
          </a:prstGeom>
        </p:spPr>
      </p:pic>
      <p:pic>
        <p:nvPicPr>
          <p:cNvPr id="25" name="Picture 24">
            <a:extLst>
              <a:ext uri="{FF2B5EF4-FFF2-40B4-BE49-F238E27FC236}">
                <a16:creationId xmlns:a16="http://schemas.microsoft.com/office/drawing/2014/main" id="{7CCB5638-FA6B-4E44-B2A4-16E5A8EDA55F}"/>
              </a:ext>
            </a:extLst>
          </p:cNvPr>
          <p:cNvPicPr>
            <a:picLocks noChangeAspect="1"/>
          </p:cNvPicPr>
          <p:nvPr userDrawn="1"/>
        </p:nvPicPr>
        <p:blipFill>
          <a:blip r:embed="rId4"/>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35642785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07_Multi Content_a">
    <p:spTree>
      <p:nvGrpSpPr>
        <p:cNvPr id="1" name=""/>
        <p:cNvGrpSpPr/>
        <p:nvPr/>
      </p:nvGrpSpPr>
      <p:grpSpPr>
        <a:xfrm>
          <a:off x="0" y="0"/>
          <a:ext cx="0" cy="0"/>
          <a:chOff x="0" y="0"/>
          <a:chExt cx="0" cy="0"/>
        </a:xfrm>
      </p:grpSpPr>
      <p:sp>
        <p:nvSpPr>
          <p:cNvPr id="8" name="Title 1"/>
          <p:cNvSpPr>
            <a:spLocks noGrp="1" noChangeAspect="1"/>
          </p:cNvSpPr>
          <p:nvPr>
            <p:ph type="title"/>
          </p:nvPr>
        </p:nvSpPr>
        <p:spPr>
          <a:xfrm>
            <a:off x="535913" y="278851"/>
            <a:ext cx="5517657" cy="1537823"/>
          </a:xfrm>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12" name="Content Placeholder 3"/>
          <p:cNvSpPr>
            <a:spLocks noGrp="1"/>
          </p:cNvSpPr>
          <p:nvPr>
            <p:ph sz="quarter" idx="17"/>
          </p:nvPr>
        </p:nvSpPr>
        <p:spPr>
          <a:xfrm>
            <a:off x="6266453" y="278851"/>
            <a:ext cx="5324883" cy="5597755"/>
          </a:xfrm>
        </p:spPr>
        <p:txBody>
          <a:bodyPr>
            <a:normAutofit/>
          </a:bodyPr>
          <a:lstStyle>
            <a:lvl1pPr>
              <a:defRPr sz="3200">
                <a:latin typeface="Franklin Gothic Book" panose="020B0503020102020204" pitchFamily="34" charset="0"/>
              </a:defRPr>
            </a:lvl1pPr>
            <a:lvl2pPr marL="990551" indent="-380982">
              <a:buFont typeface="Courier New" panose="02070309020205020404" pitchFamily="49" charset="0"/>
              <a:buChar char="o"/>
              <a:defRPr sz="2667"/>
            </a:lvl2pPr>
            <a:lvl3pPr marL="1523962" indent="-304792">
              <a:buFont typeface="Arial" panose="020B0604020202020204" pitchFamily="34" charset="0"/>
              <a:buChar char="•"/>
              <a:defRPr sz="2400"/>
            </a:lvl3pPr>
            <a:lvl4pPr marL="2133547" indent="-304792">
              <a:buFont typeface="Courier New" panose="02070309020205020404" pitchFamily="49" charset="0"/>
              <a:buChar char="o"/>
              <a:defRPr sz="2133"/>
            </a:lvl4pPr>
            <a:lvl5pPr marL="2743131" indent="-304792">
              <a:buFont typeface="Arial" panose="020B0604020202020204" pitchFamily="34" charset="0"/>
              <a:buChar char="•"/>
              <a:defRPr sz="18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535912" y="1816668"/>
            <a:ext cx="5517659" cy="111312"/>
          </a:xfrm>
          <a:prstGeom prst="rect">
            <a:avLst/>
          </a:prstGeom>
        </p:spPr>
      </p:pic>
      <p:sp>
        <p:nvSpPr>
          <p:cNvPr id="14" name="Content Placeholder 3"/>
          <p:cNvSpPr>
            <a:spLocks noGrp="1"/>
          </p:cNvSpPr>
          <p:nvPr>
            <p:ph sz="quarter" idx="18"/>
          </p:nvPr>
        </p:nvSpPr>
        <p:spPr>
          <a:xfrm>
            <a:off x="535913" y="2222277"/>
            <a:ext cx="5517657" cy="3654328"/>
          </a:xfrm>
        </p:spPr>
        <p:txBody>
          <a:bodyPr>
            <a:normAutofit/>
          </a:bodyPr>
          <a:lstStyle>
            <a:lvl1pPr>
              <a:defRPr sz="3200">
                <a:latin typeface="Franklin Gothic Book" panose="020B0503020102020204" pitchFamily="34" charset="0"/>
              </a:defRPr>
            </a:lvl1pPr>
            <a:lvl2pPr marL="990551" indent="-380982">
              <a:buFont typeface="Courier New" panose="02070309020205020404" pitchFamily="49" charset="0"/>
              <a:buChar char="o"/>
              <a:defRPr sz="2667"/>
            </a:lvl2pPr>
            <a:lvl3pPr marL="1523962" indent="-304792">
              <a:buFont typeface="Arial" panose="020B0604020202020204" pitchFamily="34" charset="0"/>
              <a:buChar char="•"/>
              <a:defRPr sz="2400"/>
            </a:lvl3pPr>
            <a:lvl4pPr marL="2133547" indent="-304792">
              <a:buFont typeface="Courier New" panose="02070309020205020404" pitchFamily="49" charset="0"/>
              <a:buChar char="o"/>
              <a:defRPr sz="2133"/>
            </a:lvl4pPr>
            <a:lvl5pPr marL="2743131" indent="-304792">
              <a:buFont typeface="Arial" panose="020B0604020202020204" pitchFamily="34" charset="0"/>
              <a:buChar char="•"/>
              <a:defRPr sz="18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nvSpPr>
        <p:spPr>
          <a:xfrm>
            <a:off x="0" y="5970229"/>
            <a:ext cx="12192000" cy="887771"/>
          </a:xfrm>
          <a:prstGeom prst="rect">
            <a:avLst/>
          </a:prstGeom>
          <a:solidFill>
            <a:srgbClr val="002D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Logo, company name&#10;&#10;Description automatically generated">
            <a:extLst>
              <a:ext uri="{FF2B5EF4-FFF2-40B4-BE49-F238E27FC236}">
                <a16:creationId xmlns:a16="http://schemas.microsoft.com/office/drawing/2014/main" id="{0161CC5A-7A92-479E-9CC8-15E3C26BC750}"/>
              </a:ext>
            </a:extLst>
          </p:cNvPr>
          <p:cNvPicPr>
            <a:picLocks noChangeAspect="1"/>
          </p:cNvPicPr>
          <p:nvPr userDrawn="1"/>
        </p:nvPicPr>
        <p:blipFill>
          <a:blip r:embed="rId3"/>
          <a:stretch>
            <a:fillRect/>
          </a:stretch>
        </p:blipFill>
        <p:spPr>
          <a:xfrm>
            <a:off x="241300" y="5060791"/>
            <a:ext cx="2667000" cy="2667000"/>
          </a:xfrm>
          <a:prstGeom prst="rect">
            <a:avLst/>
          </a:prstGeom>
        </p:spPr>
      </p:pic>
      <p:pic>
        <p:nvPicPr>
          <p:cNvPr id="15" name="Picture 14">
            <a:extLst>
              <a:ext uri="{FF2B5EF4-FFF2-40B4-BE49-F238E27FC236}">
                <a16:creationId xmlns:a16="http://schemas.microsoft.com/office/drawing/2014/main" id="{1E2156BE-4F21-48E0-819C-E18C02D8103F}"/>
              </a:ext>
            </a:extLst>
          </p:cNvPr>
          <p:cNvPicPr>
            <a:picLocks noChangeAspect="1"/>
          </p:cNvPicPr>
          <p:nvPr userDrawn="1"/>
        </p:nvPicPr>
        <p:blipFill>
          <a:blip r:embed="rId4"/>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17627774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08_Three Boxed Content_a">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5"/>
          <a:stretch>
            <a:fillRect/>
          </a:stretch>
        </p:blipFill>
        <p:spPr>
          <a:xfrm>
            <a:off x="-1" y="1"/>
            <a:ext cx="12192000" cy="2136041"/>
          </a:xfrm>
          <a:prstGeom prst="rect">
            <a:avLst/>
          </a:prstGeom>
        </p:spPr>
      </p:pic>
      <p:sp>
        <p:nvSpPr>
          <p:cNvPr id="14" name="Title 1"/>
          <p:cNvSpPr>
            <a:spLocks noGrp="1"/>
          </p:cNvSpPr>
          <p:nvPr>
            <p:ph type="title"/>
          </p:nvPr>
        </p:nvSpPr>
        <p:spPr>
          <a:xfrm>
            <a:off x="1261242" y="414859"/>
            <a:ext cx="9669516" cy="1290639"/>
          </a:xfrm>
        </p:spPr>
        <p:txBody>
          <a:bodyPr>
            <a:normAutofit/>
          </a:bodyPr>
          <a:lstStyle>
            <a:lvl1pPr algn="ctr">
              <a:defRPr sz="5067" baseline="0">
                <a:solidFill>
                  <a:schemeClr val="bg1"/>
                </a:solidFill>
                <a:latin typeface="Franklin Gothic Book"/>
              </a:defRPr>
            </a:lvl1pPr>
          </a:lstStyle>
          <a:p>
            <a:r>
              <a:rPr lang="en-US"/>
              <a:t>Click to edit Master title style</a:t>
            </a:r>
          </a:p>
        </p:txBody>
      </p:sp>
      <p:pic>
        <p:nvPicPr>
          <p:cNvPr id="18" name="Picture 17" descr="ThinShearedLines_BlueRedYellow.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61243" y="1723489"/>
            <a:ext cx="9669516" cy="114009"/>
          </a:xfrm>
          <a:prstGeom prst="rect">
            <a:avLst/>
          </a:prstGeom>
        </p:spPr>
      </p:pic>
      <p:sp>
        <p:nvSpPr>
          <p:cNvPr id="19" name="Text Placeholder 23"/>
          <p:cNvSpPr>
            <a:spLocks noGrp="1" noChangeAspect="1"/>
          </p:cNvSpPr>
          <p:nvPr>
            <p:ph type="body" sz="quarter" idx="13"/>
            <p:custDataLst>
              <p:tags r:id="rId1"/>
            </p:custDataLst>
          </p:nvPr>
        </p:nvSpPr>
        <p:spPr>
          <a:xfrm>
            <a:off x="165543" y="3053517"/>
            <a:ext cx="3657600" cy="2819931"/>
          </a:xfrm>
        </p:spPr>
        <p:txBody>
          <a:bodyPr>
            <a:normAutofit/>
          </a:bodyPr>
          <a:lstStyle>
            <a:lvl1pPr>
              <a:defRPr sz="2667">
                <a:latin typeface="Franklin Gothic Book" panose="020B0503020102020204" pitchFamily="34" charset="0"/>
              </a:defRPr>
            </a:lvl1pPr>
            <a:lvl2pPr marL="990551" indent="-380982">
              <a:buFont typeface="Courier New" panose="02070309020205020404" pitchFamily="49" charset="0"/>
              <a:buChar char="o"/>
              <a:defRPr sz="2400">
                <a:latin typeface="Franklin Gothic Book" panose="020B0503020102020204" pitchFamily="34" charset="0"/>
              </a:defRPr>
            </a:lvl2pPr>
            <a:lvl3pPr marL="1600121" indent="-380982">
              <a:buFont typeface="Courier New" panose="02070309020205020404" pitchFamily="49" charset="0"/>
              <a:buChar char="o"/>
              <a:defRPr sz="2133">
                <a:latin typeface="Franklin Gothic Book" panose="020B0503020102020204" pitchFamily="34" charset="0"/>
              </a:defRPr>
            </a:lvl3pPr>
          </a:lstStyle>
          <a:p>
            <a:pPr lvl="0"/>
            <a:r>
              <a:rPr lang="en-US"/>
              <a:t>Edit Master text styles</a:t>
            </a:r>
          </a:p>
          <a:p>
            <a:pPr lvl="1"/>
            <a:r>
              <a:rPr lang="en-US"/>
              <a:t>Second level</a:t>
            </a:r>
          </a:p>
          <a:p>
            <a:pPr lvl="2"/>
            <a:r>
              <a:rPr lang="en-US"/>
              <a:t>Third level</a:t>
            </a:r>
          </a:p>
        </p:txBody>
      </p:sp>
      <p:sp>
        <p:nvSpPr>
          <p:cNvPr id="20" name="Text Placeholder 23"/>
          <p:cNvSpPr>
            <a:spLocks noGrp="1" noChangeAspect="1"/>
          </p:cNvSpPr>
          <p:nvPr>
            <p:ph type="body" sz="quarter" idx="14"/>
            <p:custDataLst>
              <p:tags r:id="rId2"/>
            </p:custDataLst>
          </p:nvPr>
        </p:nvSpPr>
        <p:spPr>
          <a:xfrm>
            <a:off x="4299388" y="3053517"/>
            <a:ext cx="3657600" cy="2819931"/>
          </a:xfrm>
        </p:spPr>
        <p:txBody>
          <a:bodyPr>
            <a:normAutofit/>
          </a:bodyPr>
          <a:lstStyle>
            <a:lvl1pPr>
              <a:defRPr sz="2667">
                <a:latin typeface="Franklin Gothic Book" panose="020B0503020102020204" pitchFamily="34" charset="0"/>
              </a:defRPr>
            </a:lvl1pPr>
            <a:lvl2pPr marL="990551" indent="-380982">
              <a:buFont typeface="Courier New" panose="02070309020205020404" pitchFamily="49" charset="0"/>
              <a:buChar char="o"/>
              <a:defRPr sz="2400">
                <a:latin typeface="Franklin Gothic Book" panose="020B0503020102020204" pitchFamily="34" charset="0"/>
              </a:defRPr>
            </a:lvl2pPr>
            <a:lvl3pPr marL="1600121" indent="-380982">
              <a:buFont typeface="Courier New" panose="02070309020205020404" pitchFamily="49" charset="0"/>
              <a:buChar char="o"/>
              <a:defRPr sz="2133">
                <a:latin typeface="Franklin Gothic Book" panose="020B0503020102020204" pitchFamily="34" charset="0"/>
              </a:defRPr>
            </a:lvl3pPr>
          </a:lstStyle>
          <a:p>
            <a:pPr lvl="0"/>
            <a:r>
              <a:rPr lang="en-US"/>
              <a:t>Edit Master text styles</a:t>
            </a:r>
          </a:p>
          <a:p>
            <a:pPr lvl="1"/>
            <a:r>
              <a:rPr lang="en-US"/>
              <a:t>Second level</a:t>
            </a:r>
          </a:p>
          <a:p>
            <a:pPr lvl="2"/>
            <a:r>
              <a:rPr lang="en-US"/>
              <a:t>Third level</a:t>
            </a:r>
          </a:p>
        </p:txBody>
      </p:sp>
      <p:sp>
        <p:nvSpPr>
          <p:cNvPr id="21" name="Text Placeholder 23"/>
          <p:cNvSpPr>
            <a:spLocks noGrp="1" noChangeAspect="1"/>
          </p:cNvSpPr>
          <p:nvPr>
            <p:ph type="body" sz="quarter" idx="16"/>
            <p:custDataLst>
              <p:tags r:id="rId3"/>
            </p:custDataLst>
          </p:nvPr>
        </p:nvSpPr>
        <p:spPr>
          <a:xfrm>
            <a:off x="8385139" y="3053517"/>
            <a:ext cx="3657600" cy="2819931"/>
          </a:xfrm>
        </p:spPr>
        <p:txBody>
          <a:bodyPr>
            <a:normAutofit/>
          </a:bodyPr>
          <a:lstStyle>
            <a:lvl1pPr>
              <a:defRPr sz="2667">
                <a:latin typeface="Franklin Gothic Book" panose="020B0503020102020204" pitchFamily="34" charset="0"/>
              </a:defRPr>
            </a:lvl1pPr>
            <a:lvl2pPr marL="990551" indent="-380982">
              <a:buFont typeface="Courier New" panose="02070309020205020404" pitchFamily="49" charset="0"/>
              <a:buChar char="o"/>
              <a:defRPr sz="2400">
                <a:latin typeface="Franklin Gothic Book" panose="020B0503020102020204" pitchFamily="34" charset="0"/>
              </a:defRPr>
            </a:lvl2pPr>
            <a:lvl3pPr marL="1523923" indent="-304784">
              <a:buFont typeface="Courier New" panose="02070309020205020404" pitchFamily="49" charset="0"/>
              <a:buChar char="o"/>
              <a:defRPr sz="2133">
                <a:latin typeface="Franklin Gothic Book" panose="020B0503020102020204" pitchFamily="34" charset="0"/>
              </a:defRPr>
            </a:lvl3pPr>
          </a:lstStyle>
          <a:p>
            <a:pPr lvl="0"/>
            <a:r>
              <a:rPr lang="en-US"/>
              <a:t>Edit Master text styles</a:t>
            </a:r>
          </a:p>
          <a:p>
            <a:pPr lvl="1"/>
            <a:r>
              <a:rPr lang="en-US"/>
              <a:t>Second level</a:t>
            </a:r>
          </a:p>
          <a:p>
            <a:pPr lvl="2"/>
            <a:r>
              <a:rPr lang="en-US"/>
              <a:t>Third level</a:t>
            </a:r>
          </a:p>
        </p:txBody>
      </p:sp>
      <p:sp>
        <p:nvSpPr>
          <p:cNvPr id="22" name="Text Placeholder 9"/>
          <p:cNvSpPr>
            <a:spLocks noGrp="1" noChangeAspect="1"/>
          </p:cNvSpPr>
          <p:nvPr>
            <p:ph type="body" sz="quarter" idx="17"/>
          </p:nvPr>
        </p:nvSpPr>
        <p:spPr>
          <a:xfrm>
            <a:off x="463994" y="2296811"/>
            <a:ext cx="3060700" cy="673100"/>
          </a:xfrm>
          <a:solidFill>
            <a:schemeClr val="accent1"/>
          </a:solidFill>
        </p:spPr>
        <p:txBody>
          <a:bodyPr>
            <a:noAutofit/>
          </a:bodyPr>
          <a:lstStyle>
            <a:lvl1pPr marL="0" indent="0" algn="ctr">
              <a:buNone/>
              <a:defRPr sz="2667" b="1">
                <a:solidFill>
                  <a:schemeClr val="bg1"/>
                </a:solidFill>
                <a:latin typeface="Franklin Gothic Book" panose="020B0503020102020204" pitchFamily="34" charset="0"/>
              </a:defRPr>
            </a:lvl1pPr>
            <a:lvl5pPr marL="2438278" indent="0">
              <a:buNone/>
              <a:defRPr/>
            </a:lvl5pPr>
          </a:lstStyle>
          <a:p>
            <a:pPr lvl="0"/>
            <a:r>
              <a:rPr lang="en-US"/>
              <a:t>Edit Master text styles</a:t>
            </a:r>
          </a:p>
        </p:txBody>
      </p:sp>
      <p:sp>
        <p:nvSpPr>
          <p:cNvPr id="23" name="Text Placeholder 9"/>
          <p:cNvSpPr>
            <a:spLocks noGrp="1" noChangeAspect="1"/>
          </p:cNvSpPr>
          <p:nvPr>
            <p:ph type="body" sz="quarter" idx="18"/>
          </p:nvPr>
        </p:nvSpPr>
        <p:spPr>
          <a:xfrm>
            <a:off x="4597839" y="2296371"/>
            <a:ext cx="3060700" cy="673100"/>
          </a:xfrm>
          <a:solidFill>
            <a:schemeClr val="accent2"/>
          </a:solidFill>
        </p:spPr>
        <p:txBody>
          <a:bodyPr>
            <a:noAutofit/>
          </a:bodyPr>
          <a:lstStyle>
            <a:lvl1pPr marL="0" indent="0" algn="ctr">
              <a:buNone/>
              <a:defRPr sz="2667" b="1">
                <a:solidFill>
                  <a:schemeClr val="bg1"/>
                </a:solidFill>
                <a:latin typeface="Franklin Gothic Book" panose="020B0503020102020204" pitchFamily="34" charset="0"/>
              </a:defRPr>
            </a:lvl1pPr>
            <a:lvl5pPr marL="2438278" indent="0">
              <a:buNone/>
              <a:defRPr/>
            </a:lvl5pPr>
          </a:lstStyle>
          <a:p>
            <a:pPr lvl="0"/>
            <a:r>
              <a:rPr lang="en-US"/>
              <a:t>Edit Master text styles</a:t>
            </a:r>
          </a:p>
        </p:txBody>
      </p:sp>
      <p:sp>
        <p:nvSpPr>
          <p:cNvPr id="24" name="Text Placeholder 9"/>
          <p:cNvSpPr>
            <a:spLocks noGrp="1" noChangeAspect="1"/>
          </p:cNvSpPr>
          <p:nvPr>
            <p:ph type="body" sz="quarter" idx="19"/>
          </p:nvPr>
        </p:nvSpPr>
        <p:spPr>
          <a:xfrm>
            <a:off x="8683591" y="2296370"/>
            <a:ext cx="3060700" cy="673100"/>
          </a:xfrm>
          <a:solidFill>
            <a:schemeClr val="accent4"/>
          </a:solidFill>
        </p:spPr>
        <p:txBody>
          <a:bodyPr>
            <a:noAutofit/>
          </a:bodyPr>
          <a:lstStyle>
            <a:lvl1pPr marL="0" indent="0" algn="ctr">
              <a:buNone/>
              <a:defRPr sz="2667" b="1">
                <a:solidFill>
                  <a:schemeClr val="bg1"/>
                </a:solidFill>
                <a:latin typeface="Franklin Gothic Book" panose="020B0503020102020204" pitchFamily="34" charset="0"/>
              </a:defRPr>
            </a:lvl1pPr>
            <a:lvl5pPr marL="2438278" indent="0">
              <a:buNone/>
              <a:defRPr/>
            </a:lvl5pPr>
          </a:lstStyle>
          <a:p>
            <a:pPr lvl="0"/>
            <a:r>
              <a:rPr lang="en-US"/>
              <a:t>Edit Master text styles</a:t>
            </a:r>
          </a:p>
        </p:txBody>
      </p:sp>
      <p:sp>
        <p:nvSpPr>
          <p:cNvPr id="16" name="Rectangle 15"/>
          <p:cNvSpPr/>
          <p:nvPr userDrawn="1"/>
        </p:nvSpPr>
        <p:spPr>
          <a:xfrm>
            <a:off x="0" y="5970229"/>
            <a:ext cx="12192000" cy="887771"/>
          </a:xfrm>
          <a:prstGeom prst="rect">
            <a:avLst/>
          </a:prstGeom>
          <a:solidFill>
            <a:srgbClr val="002D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7" name="Picture 16" descr="Logo, company name&#10;&#10;Description automatically generated">
            <a:extLst>
              <a:ext uri="{FF2B5EF4-FFF2-40B4-BE49-F238E27FC236}">
                <a16:creationId xmlns:a16="http://schemas.microsoft.com/office/drawing/2014/main" id="{93E744B6-D73C-46B0-8234-94B917CB10D4}"/>
              </a:ext>
            </a:extLst>
          </p:cNvPr>
          <p:cNvPicPr>
            <a:picLocks noChangeAspect="1"/>
          </p:cNvPicPr>
          <p:nvPr userDrawn="1"/>
        </p:nvPicPr>
        <p:blipFill>
          <a:blip r:embed="rId7"/>
          <a:stretch>
            <a:fillRect/>
          </a:stretch>
        </p:blipFill>
        <p:spPr>
          <a:xfrm>
            <a:off x="241300" y="5060791"/>
            <a:ext cx="2667000" cy="2667000"/>
          </a:xfrm>
          <a:prstGeom prst="rect">
            <a:avLst/>
          </a:prstGeom>
        </p:spPr>
      </p:pic>
      <p:pic>
        <p:nvPicPr>
          <p:cNvPr id="26" name="Picture 25">
            <a:extLst>
              <a:ext uri="{FF2B5EF4-FFF2-40B4-BE49-F238E27FC236}">
                <a16:creationId xmlns:a16="http://schemas.microsoft.com/office/drawing/2014/main" id="{44F43DF8-8F1D-4745-94F2-04F615FDA52E}"/>
              </a:ext>
            </a:extLst>
          </p:cNvPr>
          <p:cNvPicPr>
            <a:picLocks noChangeAspect="1"/>
          </p:cNvPicPr>
          <p:nvPr userDrawn="1"/>
        </p:nvPicPr>
        <p:blipFill>
          <a:blip r:embed="rId8"/>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3501842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09_Transition Slide and Content_a">
    <p:spTree>
      <p:nvGrpSpPr>
        <p:cNvPr id="1" name=""/>
        <p:cNvGrpSpPr/>
        <p:nvPr/>
      </p:nvGrpSpPr>
      <p:grpSpPr>
        <a:xfrm>
          <a:off x="0" y="0"/>
          <a:ext cx="0" cy="0"/>
          <a:chOff x="0" y="0"/>
          <a:chExt cx="0" cy="0"/>
        </a:xfrm>
      </p:grpSpPr>
      <p:sp>
        <p:nvSpPr>
          <p:cNvPr id="12" name="Content Placeholder 3"/>
          <p:cNvSpPr>
            <a:spLocks noGrp="1"/>
          </p:cNvSpPr>
          <p:nvPr>
            <p:ph sz="quarter" idx="17"/>
          </p:nvPr>
        </p:nvSpPr>
        <p:spPr>
          <a:xfrm>
            <a:off x="7146375" y="278851"/>
            <a:ext cx="4567767" cy="5113400"/>
          </a:xfrm>
        </p:spPr>
        <p:txBody>
          <a:bodyPr>
            <a:normAutofit/>
          </a:bodyPr>
          <a:lstStyle>
            <a:lvl1pPr>
              <a:defRPr sz="3200">
                <a:latin typeface="Franklin Gothic Book" panose="020B0503020102020204" pitchFamily="34" charset="0"/>
              </a:defRPr>
            </a:lvl1pPr>
            <a:lvl2pPr marL="990551" indent="-380982">
              <a:buFont typeface="Arial" panose="020B0604020202020204" pitchFamily="34" charset="0"/>
              <a:buChar char="•"/>
              <a:defRPr sz="2400"/>
            </a:lvl2pPr>
          </a:lstStyle>
          <a:p>
            <a:pPr lvl="0"/>
            <a:r>
              <a:rPr lang="en-US"/>
              <a:t>Edit Master text styles</a:t>
            </a:r>
          </a:p>
          <a:p>
            <a:pPr lvl="1"/>
            <a:r>
              <a:rPr lang="en-US"/>
              <a:t>Second level</a:t>
            </a:r>
          </a:p>
        </p:txBody>
      </p:sp>
      <p:pic>
        <p:nvPicPr>
          <p:cNvPr id="13" name="Picture 12" descr="ThinShearedLines_BlueRedYellow.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flipV="1">
            <a:off x="817033" y="3826478"/>
            <a:ext cx="6096000" cy="105977"/>
          </a:xfrm>
          <a:prstGeom prst="rect">
            <a:avLst/>
          </a:prstGeom>
        </p:spPr>
      </p:pic>
      <p:sp>
        <p:nvSpPr>
          <p:cNvPr id="19" name="Title 1"/>
          <p:cNvSpPr>
            <a:spLocks noGrp="1" noChangeAspect="1"/>
          </p:cNvSpPr>
          <p:nvPr>
            <p:ph type="title"/>
          </p:nvPr>
        </p:nvSpPr>
        <p:spPr>
          <a:xfrm>
            <a:off x="817033" y="2214881"/>
            <a:ext cx="6096000" cy="1537823"/>
          </a:xfrm>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20" name="Text Placeholder 1"/>
          <p:cNvSpPr>
            <a:spLocks noGrp="1" noChangeAspect="1"/>
          </p:cNvSpPr>
          <p:nvPr>
            <p:ph type="body" sz="quarter" idx="14"/>
            <p:custDataLst>
              <p:tags r:id="rId1"/>
            </p:custDataLst>
          </p:nvPr>
        </p:nvSpPr>
        <p:spPr>
          <a:xfrm>
            <a:off x="817033" y="4650614"/>
            <a:ext cx="6096000" cy="741637"/>
          </a:xfrm>
        </p:spPr>
        <p:txBody>
          <a:bodyPr>
            <a:normAutofit/>
          </a:bodyPr>
          <a:lstStyle>
            <a:lvl1pPr marL="0" indent="0">
              <a:buNone/>
              <a:defRPr sz="2933">
                <a:latin typeface="Franklin Gothic Book" panose="020B0503020102020204" pitchFamily="34" charset="0"/>
              </a:defRPr>
            </a:lvl1pPr>
          </a:lstStyle>
          <a:p>
            <a:endParaRPr lang="en-US"/>
          </a:p>
        </p:txBody>
      </p:sp>
      <p:sp>
        <p:nvSpPr>
          <p:cNvPr id="21" name="Text Placeholder 2"/>
          <p:cNvSpPr>
            <a:spLocks noGrp="1" noChangeAspect="1"/>
          </p:cNvSpPr>
          <p:nvPr>
            <p:ph type="body" sz="quarter" idx="16"/>
            <p:custDataLst>
              <p:tags r:id="rId2"/>
            </p:custDataLst>
          </p:nvPr>
        </p:nvSpPr>
        <p:spPr>
          <a:xfrm>
            <a:off x="817033" y="4011322"/>
            <a:ext cx="6096000" cy="565517"/>
          </a:xfrm>
        </p:spPr>
        <p:txBody>
          <a:bodyPr>
            <a:noAutofit/>
          </a:bodyPr>
          <a:lstStyle>
            <a:lvl1pPr marL="0" indent="0">
              <a:buNone/>
              <a:defRPr sz="2933">
                <a:latin typeface="Franklin Gothic Book" panose="020B0503020102020204" pitchFamily="34" charset="0"/>
              </a:defRPr>
            </a:lvl1pPr>
          </a:lstStyle>
          <a:p>
            <a:endParaRPr lang="en-US"/>
          </a:p>
        </p:txBody>
      </p:sp>
      <p:sp>
        <p:nvSpPr>
          <p:cNvPr id="10" name="Rectangle 9"/>
          <p:cNvSpPr/>
          <p:nvPr userDrawn="1"/>
        </p:nvSpPr>
        <p:spPr>
          <a:xfrm>
            <a:off x="0" y="5970229"/>
            <a:ext cx="12192000" cy="887771"/>
          </a:xfrm>
          <a:prstGeom prst="rect">
            <a:avLst/>
          </a:prstGeom>
          <a:solidFill>
            <a:srgbClr val="002D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4" name="Picture 13" descr="Logo, company name&#10;&#10;Description automatically generated">
            <a:extLst>
              <a:ext uri="{FF2B5EF4-FFF2-40B4-BE49-F238E27FC236}">
                <a16:creationId xmlns:a16="http://schemas.microsoft.com/office/drawing/2014/main" id="{4DBE28F1-1430-4959-B475-8F2D9B5374C5}"/>
              </a:ext>
            </a:extLst>
          </p:cNvPr>
          <p:cNvPicPr>
            <a:picLocks noChangeAspect="1"/>
          </p:cNvPicPr>
          <p:nvPr userDrawn="1"/>
        </p:nvPicPr>
        <p:blipFill>
          <a:blip r:embed="rId5"/>
          <a:stretch>
            <a:fillRect/>
          </a:stretch>
        </p:blipFill>
        <p:spPr>
          <a:xfrm>
            <a:off x="241300" y="5060791"/>
            <a:ext cx="2667000" cy="2667000"/>
          </a:xfrm>
          <a:prstGeom prst="rect">
            <a:avLst/>
          </a:prstGeom>
        </p:spPr>
      </p:pic>
      <p:pic>
        <p:nvPicPr>
          <p:cNvPr id="15" name="Picture 14">
            <a:extLst>
              <a:ext uri="{FF2B5EF4-FFF2-40B4-BE49-F238E27FC236}">
                <a16:creationId xmlns:a16="http://schemas.microsoft.com/office/drawing/2014/main" id="{910896FD-80BE-44A6-831C-BE30DF52BD09}"/>
              </a:ext>
            </a:extLst>
          </p:cNvPr>
          <p:cNvPicPr>
            <a:picLocks noChangeAspect="1"/>
          </p:cNvPicPr>
          <p:nvPr userDrawn="1"/>
        </p:nvPicPr>
        <p:blipFill>
          <a:blip r:embed="rId6"/>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35501916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0_Single Content Banner_a">
    <p:spTree>
      <p:nvGrpSpPr>
        <p:cNvPr id="1" name=""/>
        <p:cNvGrpSpPr/>
        <p:nvPr/>
      </p:nvGrpSpPr>
      <p:grpSpPr>
        <a:xfrm>
          <a:off x="0" y="0"/>
          <a:ext cx="0" cy="0"/>
          <a:chOff x="0" y="0"/>
          <a:chExt cx="0" cy="0"/>
        </a:xfrm>
      </p:grpSpPr>
      <p:pic>
        <p:nvPicPr>
          <p:cNvPr id="17" name="Picture 16" descr="HeaderBar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490848"/>
            <a:ext cx="12192000" cy="585216"/>
          </a:xfrm>
          <a:prstGeom prst="rect">
            <a:avLst/>
          </a:prstGeom>
        </p:spPr>
      </p:pic>
      <p:sp>
        <p:nvSpPr>
          <p:cNvPr id="8" name="Rectangle 7"/>
          <p:cNvSpPr/>
          <p:nvPr userDrawn="1"/>
        </p:nvSpPr>
        <p:spPr>
          <a:xfrm>
            <a:off x="0" y="5970229"/>
            <a:ext cx="12192000" cy="887771"/>
          </a:xfrm>
          <a:prstGeom prst="rect">
            <a:avLst/>
          </a:prstGeom>
          <a:solidFill>
            <a:srgbClr val="002D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2" name="Title 1"/>
          <p:cNvSpPr>
            <a:spLocks noGrp="1"/>
          </p:cNvSpPr>
          <p:nvPr>
            <p:ph type="title"/>
          </p:nvPr>
        </p:nvSpPr>
        <p:spPr>
          <a:xfrm>
            <a:off x="1651000" y="1064683"/>
            <a:ext cx="9144000" cy="1290639"/>
          </a:xfrm>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13" name="Content Placeholder 2"/>
          <p:cNvSpPr>
            <a:spLocks noGrp="1"/>
          </p:cNvSpPr>
          <p:nvPr>
            <p:ph idx="1"/>
          </p:nvPr>
        </p:nvSpPr>
        <p:spPr>
          <a:xfrm>
            <a:off x="1651000" y="2613959"/>
            <a:ext cx="9144000" cy="2241551"/>
          </a:xfrm>
        </p:spPr>
        <p:txBody>
          <a:bodyPr>
            <a:normAutofit/>
          </a:bodyPr>
          <a:lstStyle>
            <a:lvl1pPr marL="0" indent="0">
              <a:spcBef>
                <a:spcPts val="0"/>
              </a:spcBef>
              <a:buFontTx/>
              <a:buNone/>
              <a:defRPr sz="2933" baseline="0">
                <a:solidFill>
                  <a:schemeClr val="tx1"/>
                </a:solidFill>
                <a:latin typeface="Franklin Gothic Book"/>
              </a:defRPr>
            </a:lvl1pPr>
            <a:lvl2pPr marL="0" indent="0">
              <a:spcBef>
                <a:spcPts val="0"/>
              </a:spcBef>
              <a:buFontTx/>
              <a:buNone/>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0" indent="0">
              <a:spcBef>
                <a:spcPts val="0"/>
              </a:spcBef>
              <a:buFontTx/>
              <a:buNone/>
              <a:defRPr sz="2933"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pic>
        <p:nvPicPr>
          <p:cNvPr id="9" name="Picture 8" descr="Logo, company name&#10;&#10;Description automatically generated">
            <a:extLst>
              <a:ext uri="{FF2B5EF4-FFF2-40B4-BE49-F238E27FC236}">
                <a16:creationId xmlns:a16="http://schemas.microsoft.com/office/drawing/2014/main" id="{43652CA2-9F17-40C4-AF5B-FB2CC9C9C8A4}"/>
              </a:ext>
            </a:extLst>
          </p:cNvPr>
          <p:cNvPicPr>
            <a:picLocks noChangeAspect="1"/>
          </p:cNvPicPr>
          <p:nvPr userDrawn="1"/>
        </p:nvPicPr>
        <p:blipFill>
          <a:blip r:embed="rId3"/>
          <a:stretch>
            <a:fillRect/>
          </a:stretch>
        </p:blipFill>
        <p:spPr>
          <a:xfrm>
            <a:off x="241300" y="5060791"/>
            <a:ext cx="2667000" cy="2667000"/>
          </a:xfrm>
          <a:prstGeom prst="rect">
            <a:avLst/>
          </a:prstGeom>
        </p:spPr>
      </p:pic>
      <p:pic>
        <p:nvPicPr>
          <p:cNvPr id="14" name="Picture 13">
            <a:extLst>
              <a:ext uri="{FF2B5EF4-FFF2-40B4-BE49-F238E27FC236}">
                <a16:creationId xmlns:a16="http://schemas.microsoft.com/office/drawing/2014/main" id="{A0021E32-D1DF-40D1-AF16-0FE314B85ED0}"/>
              </a:ext>
            </a:extLst>
          </p:cNvPr>
          <p:cNvPicPr>
            <a:picLocks noChangeAspect="1"/>
          </p:cNvPicPr>
          <p:nvPr userDrawn="1"/>
        </p:nvPicPr>
        <p:blipFill>
          <a:blip r:embed="rId4"/>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26995860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11_Single Content_a">
    <p:spTree>
      <p:nvGrpSpPr>
        <p:cNvPr id="1" name=""/>
        <p:cNvGrpSpPr/>
        <p:nvPr/>
      </p:nvGrpSpPr>
      <p:grpSpPr>
        <a:xfrm>
          <a:off x="0" y="0"/>
          <a:ext cx="0" cy="0"/>
          <a:chOff x="0" y="0"/>
          <a:chExt cx="0" cy="0"/>
        </a:xfrm>
      </p:grpSpPr>
      <p:sp>
        <p:nvSpPr>
          <p:cNvPr id="2" name="Title 1"/>
          <p:cNvSpPr>
            <a:spLocks noGrp="1"/>
          </p:cNvSpPr>
          <p:nvPr>
            <p:ph type="title"/>
          </p:nvPr>
        </p:nvSpPr>
        <p:spPr>
          <a:xfrm>
            <a:off x="1651000" y="1064683"/>
            <a:ext cx="9144000" cy="1290639"/>
          </a:xfrm>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3" name="Content Placeholder 2"/>
          <p:cNvSpPr>
            <a:spLocks noGrp="1"/>
          </p:cNvSpPr>
          <p:nvPr>
            <p:ph idx="1"/>
          </p:nvPr>
        </p:nvSpPr>
        <p:spPr>
          <a:xfrm>
            <a:off x="1651000" y="2613959"/>
            <a:ext cx="9144000" cy="2241551"/>
          </a:xfrm>
        </p:spPr>
        <p:txBody>
          <a:bodyPr>
            <a:normAutofit/>
          </a:bodyPr>
          <a:lstStyle>
            <a:lvl1pPr marL="0" indent="0">
              <a:spcBef>
                <a:spcPts val="0"/>
              </a:spcBef>
              <a:buFontTx/>
              <a:buNone/>
              <a:defRPr sz="2933" baseline="0">
                <a:solidFill>
                  <a:schemeClr val="tx1"/>
                </a:solidFill>
                <a:latin typeface="Franklin Gothic Book"/>
              </a:defRPr>
            </a:lvl1pPr>
            <a:lvl2pPr marL="0" indent="0">
              <a:spcBef>
                <a:spcPts val="0"/>
              </a:spcBef>
              <a:buFontTx/>
              <a:buNone/>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0" indent="0">
              <a:spcBef>
                <a:spcPts val="0"/>
              </a:spcBef>
              <a:buFontTx/>
              <a:buNone/>
              <a:defRPr sz="2933"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sp>
        <p:nvSpPr>
          <p:cNvPr id="7" name="Rectangle 6"/>
          <p:cNvSpPr/>
          <p:nvPr userDrawn="1"/>
        </p:nvSpPr>
        <p:spPr>
          <a:xfrm>
            <a:off x="0" y="5970229"/>
            <a:ext cx="12192000" cy="887771"/>
          </a:xfrm>
          <a:prstGeom prst="rect">
            <a:avLst/>
          </a:prstGeom>
          <a:solidFill>
            <a:srgbClr val="002D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8" name="Picture 7" descr="Logo, company name&#10;&#10;Description automatically generated">
            <a:extLst>
              <a:ext uri="{FF2B5EF4-FFF2-40B4-BE49-F238E27FC236}">
                <a16:creationId xmlns:a16="http://schemas.microsoft.com/office/drawing/2014/main" id="{C37CB94E-F981-48CB-84F3-096D2BFCFE70}"/>
              </a:ext>
            </a:extLst>
          </p:cNvPr>
          <p:cNvPicPr>
            <a:picLocks noChangeAspect="1"/>
          </p:cNvPicPr>
          <p:nvPr userDrawn="1"/>
        </p:nvPicPr>
        <p:blipFill>
          <a:blip r:embed="rId2"/>
          <a:stretch>
            <a:fillRect/>
          </a:stretch>
        </p:blipFill>
        <p:spPr>
          <a:xfrm>
            <a:off x="241300" y="5060791"/>
            <a:ext cx="2667000" cy="2667000"/>
          </a:xfrm>
          <a:prstGeom prst="rect">
            <a:avLst/>
          </a:prstGeom>
        </p:spPr>
      </p:pic>
      <p:pic>
        <p:nvPicPr>
          <p:cNvPr id="11" name="Picture 10">
            <a:extLst>
              <a:ext uri="{FF2B5EF4-FFF2-40B4-BE49-F238E27FC236}">
                <a16:creationId xmlns:a16="http://schemas.microsoft.com/office/drawing/2014/main" id="{434DD27B-FE39-4B0C-A7A7-BB438E700633}"/>
              </a:ext>
            </a:extLst>
          </p:cNvPr>
          <p:cNvPicPr>
            <a:picLocks noChangeAspect="1"/>
          </p:cNvPicPr>
          <p:nvPr userDrawn="1"/>
        </p:nvPicPr>
        <p:blipFill>
          <a:blip r:embed="rId3"/>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31024020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2_Double Content_a">
    <p:spTree>
      <p:nvGrpSpPr>
        <p:cNvPr id="1" name=""/>
        <p:cNvGrpSpPr/>
        <p:nvPr/>
      </p:nvGrpSpPr>
      <p:grpSpPr>
        <a:xfrm>
          <a:off x="0" y="0"/>
          <a:ext cx="0" cy="0"/>
          <a:chOff x="0" y="0"/>
          <a:chExt cx="0" cy="0"/>
        </a:xfrm>
      </p:grpSpPr>
      <p:sp>
        <p:nvSpPr>
          <p:cNvPr id="16" name="Title 1"/>
          <p:cNvSpPr>
            <a:spLocks noGrp="1"/>
          </p:cNvSpPr>
          <p:nvPr>
            <p:ph type="title"/>
          </p:nvPr>
        </p:nvSpPr>
        <p:spPr>
          <a:xfrm>
            <a:off x="1524000" y="458410"/>
            <a:ext cx="9144000" cy="1085911"/>
          </a:xfrm>
        </p:spPr>
        <p:txBody>
          <a:bodyPr>
            <a:normAutofit/>
          </a:bodyPr>
          <a:lstStyle>
            <a:lvl1pPr algn="ctr">
              <a:defRPr sz="5067" baseline="0">
                <a:solidFill>
                  <a:srgbClr val="D9531E"/>
                </a:solidFill>
                <a:latin typeface="Franklin Gothic Book"/>
              </a:defRPr>
            </a:lvl1pPr>
          </a:lstStyle>
          <a:p>
            <a:r>
              <a:rPr lang="en-US"/>
              <a:t>Click to edit Master title style</a:t>
            </a:r>
          </a:p>
        </p:txBody>
      </p:sp>
      <p:sp>
        <p:nvSpPr>
          <p:cNvPr id="18" name="Content Placeholder 2"/>
          <p:cNvSpPr>
            <a:spLocks noGrp="1"/>
          </p:cNvSpPr>
          <p:nvPr>
            <p:ph idx="10"/>
          </p:nvPr>
        </p:nvSpPr>
        <p:spPr>
          <a:xfrm>
            <a:off x="1524000" y="1663911"/>
            <a:ext cx="4453467" cy="3913931"/>
          </a:xfrm>
        </p:spPr>
        <p:txBody>
          <a:bodyPr>
            <a:normAutofit/>
          </a:bodyPr>
          <a:lstStyle>
            <a:lvl1pPr marL="0" indent="0">
              <a:spcBef>
                <a:spcPts val="0"/>
              </a:spcBef>
              <a:buFontTx/>
              <a:buNone/>
              <a:defRPr sz="2933" baseline="0">
                <a:solidFill>
                  <a:schemeClr val="tx1"/>
                </a:solidFill>
                <a:latin typeface="Franklin Gothic Book"/>
              </a:defRPr>
            </a:lvl1pPr>
            <a:lvl2pPr marL="0" indent="0">
              <a:spcBef>
                <a:spcPts val="0"/>
              </a:spcBef>
              <a:buFontTx/>
              <a:buNone/>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0" indent="0">
              <a:spcBef>
                <a:spcPts val="0"/>
              </a:spcBef>
              <a:buFontTx/>
              <a:buNone/>
              <a:defRPr sz="2933"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sp>
        <p:nvSpPr>
          <p:cNvPr id="19" name="Content Placeholder 2"/>
          <p:cNvSpPr>
            <a:spLocks noGrp="1"/>
          </p:cNvSpPr>
          <p:nvPr>
            <p:ph idx="11"/>
          </p:nvPr>
        </p:nvSpPr>
        <p:spPr>
          <a:xfrm>
            <a:off x="6214533" y="1663911"/>
            <a:ext cx="4453467" cy="3913931"/>
          </a:xfrm>
        </p:spPr>
        <p:txBody>
          <a:bodyPr>
            <a:normAutofit/>
          </a:bodyPr>
          <a:lstStyle>
            <a:lvl1pPr marL="0" indent="0">
              <a:spcBef>
                <a:spcPts val="0"/>
              </a:spcBef>
              <a:buFontTx/>
              <a:buNone/>
              <a:defRPr sz="2933" baseline="0">
                <a:solidFill>
                  <a:schemeClr val="tx1"/>
                </a:solidFill>
                <a:latin typeface="Franklin Gothic Book"/>
              </a:defRPr>
            </a:lvl1pPr>
            <a:lvl2pPr marL="0" indent="0">
              <a:spcBef>
                <a:spcPts val="0"/>
              </a:spcBef>
              <a:buFontTx/>
              <a:buNone/>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0" indent="0">
              <a:spcBef>
                <a:spcPts val="0"/>
              </a:spcBef>
              <a:buFontTx/>
              <a:buNone/>
              <a:defRPr sz="2933"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pic>
        <p:nvPicPr>
          <p:cNvPr id="20" name="Picture 19"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933"/>
            <a:ext cx="12192000" cy="105664"/>
          </a:xfrm>
          <a:prstGeom prst="rect">
            <a:avLst/>
          </a:prstGeom>
        </p:spPr>
      </p:pic>
      <p:sp>
        <p:nvSpPr>
          <p:cNvPr id="9" name="Rectangle 8"/>
          <p:cNvSpPr/>
          <p:nvPr userDrawn="1"/>
        </p:nvSpPr>
        <p:spPr>
          <a:xfrm>
            <a:off x="0" y="5970229"/>
            <a:ext cx="12192000" cy="887771"/>
          </a:xfrm>
          <a:prstGeom prst="rect">
            <a:avLst/>
          </a:prstGeom>
          <a:solidFill>
            <a:srgbClr val="002D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Logo, company name&#10;&#10;Description automatically generated">
            <a:extLst>
              <a:ext uri="{FF2B5EF4-FFF2-40B4-BE49-F238E27FC236}">
                <a16:creationId xmlns:a16="http://schemas.microsoft.com/office/drawing/2014/main" id="{FB47E06A-07B7-40E9-BEFA-0C99572D1BF6}"/>
              </a:ext>
            </a:extLst>
          </p:cNvPr>
          <p:cNvPicPr>
            <a:picLocks noChangeAspect="1"/>
          </p:cNvPicPr>
          <p:nvPr userDrawn="1"/>
        </p:nvPicPr>
        <p:blipFill>
          <a:blip r:embed="rId3"/>
          <a:stretch>
            <a:fillRect/>
          </a:stretch>
        </p:blipFill>
        <p:spPr>
          <a:xfrm>
            <a:off x="241300" y="5060791"/>
            <a:ext cx="2667000" cy="2667000"/>
          </a:xfrm>
          <a:prstGeom prst="rect">
            <a:avLst/>
          </a:prstGeom>
        </p:spPr>
      </p:pic>
      <p:pic>
        <p:nvPicPr>
          <p:cNvPr id="13" name="Picture 12">
            <a:extLst>
              <a:ext uri="{FF2B5EF4-FFF2-40B4-BE49-F238E27FC236}">
                <a16:creationId xmlns:a16="http://schemas.microsoft.com/office/drawing/2014/main" id="{B4E2F857-FBD9-46C8-B31A-F6F246637A23}"/>
              </a:ext>
            </a:extLst>
          </p:cNvPr>
          <p:cNvPicPr>
            <a:picLocks noChangeAspect="1"/>
          </p:cNvPicPr>
          <p:nvPr userDrawn="1"/>
        </p:nvPicPr>
        <p:blipFill>
          <a:blip r:embed="rId4"/>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29883310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01_Title Slide_b">
    <p:spTree>
      <p:nvGrpSpPr>
        <p:cNvPr id="1" name=""/>
        <p:cNvGrpSpPr/>
        <p:nvPr/>
      </p:nvGrpSpPr>
      <p:grpSpPr>
        <a:xfrm>
          <a:off x="0" y="0"/>
          <a:ext cx="0" cy="0"/>
          <a:chOff x="0" y="0"/>
          <a:chExt cx="0" cy="0"/>
        </a:xfrm>
      </p:grpSpPr>
      <p:sp>
        <p:nvSpPr>
          <p:cNvPr id="10" name="Rectangle 9"/>
          <p:cNvSpPr/>
          <p:nvPr userDrawn="1"/>
        </p:nvSpPr>
        <p:spPr>
          <a:xfrm>
            <a:off x="0" y="1"/>
            <a:ext cx="12192000" cy="597023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ctrTitle"/>
          </p:nvPr>
        </p:nvSpPr>
        <p:spPr>
          <a:xfrm>
            <a:off x="1464062" y="1947337"/>
            <a:ext cx="9525673" cy="1549399"/>
          </a:xfrm>
        </p:spPr>
        <p:txBody>
          <a:bodyPr>
            <a:noAutofit/>
          </a:bodyPr>
          <a:lstStyle>
            <a:lvl1pPr algn="l">
              <a:defRPr sz="5867">
                <a:solidFill>
                  <a:srgbClr val="002D56"/>
                </a:solidFill>
                <a:latin typeface="Franklin Gothic Book"/>
              </a:defRPr>
            </a:lvl1pPr>
          </a:lstStyle>
          <a:p>
            <a:r>
              <a:rPr lang="en-US"/>
              <a:t>Click to edit Master title style</a:t>
            </a:r>
          </a:p>
        </p:txBody>
      </p:sp>
      <p:sp>
        <p:nvSpPr>
          <p:cNvPr id="3" name="Subtitle 2"/>
          <p:cNvSpPr>
            <a:spLocks noGrp="1"/>
          </p:cNvSpPr>
          <p:nvPr>
            <p:ph type="subTitle" idx="1"/>
          </p:nvPr>
        </p:nvSpPr>
        <p:spPr>
          <a:xfrm>
            <a:off x="1464061" y="3496735"/>
            <a:ext cx="8611275" cy="857251"/>
          </a:xfrm>
        </p:spPr>
        <p:txBody>
          <a:bodyPr>
            <a:normAutofit/>
          </a:bodyPr>
          <a:lstStyle>
            <a:lvl1pPr marL="0" indent="0" algn="l">
              <a:buNone/>
              <a:defRPr sz="2933">
                <a:solidFill>
                  <a:schemeClr val="tx1">
                    <a:lumMod val="65000"/>
                    <a:lumOff val="35000"/>
                  </a:schemeClr>
                </a:solidFill>
                <a:latin typeface="Franklin Gothic Book"/>
                <a:cs typeface="Franklin Gothic Book"/>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9" name="Parallelogram 8"/>
          <p:cNvSpPr/>
          <p:nvPr userDrawn="1"/>
        </p:nvSpPr>
        <p:spPr>
          <a:xfrm flipH="1">
            <a:off x="1464061" y="1648495"/>
            <a:ext cx="991272" cy="60959"/>
          </a:xfrm>
          <a:prstGeom prst="parallelogram">
            <a:avLst/>
          </a:prstGeom>
          <a:solidFill>
            <a:srgbClr val="9FA6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4" name="Picture 3" descr="ThinShearedLines_BlueYellowRe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74652"/>
            <a:ext cx="12192000" cy="922528"/>
          </a:xfrm>
          <a:prstGeom prst="rect">
            <a:avLst/>
          </a:prstGeom>
        </p:spPr>
      </p:pic>
      <p:sp>
        <p:nvSpPr>
          <p:cNvPr id="11" name="Rectangle 10"/>
          <p:cNvSpPr/>
          <p:nvPr userDrawn="1"/>
        </p:nvSpPr>
        <p:spPr>
          <a:xfrm>
            <a:off x="0" y="5978697"/>
            <a:ext cx="12192000" cy="887771"/>
          </a:xfrm>
          <a:prstGeom prst="rect">
            <a:avLst/>
          </a:prstGeom>
          <a:solidFill>
            <a:srgbClr val="0096D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3" name="Picture 12" descr="Logo, company name&#10;&#10;Description automatically generated">
            <a:extLst>
              <a:ext uri="{FF2B5EF4-FFF2-40B4-BE49-F238E27FC236}">
                <a16:creationId xmlns:a16="http://schemas.microsoft.com/office/drawing/2014/main" id="{3317BA1E-F8F5-4A7A-A860-B3A9B5E6BA88}"/>
              </a:ext>
            </a:extLst>
          </p:cNvPr>
          <p:cNvPicPr>
            <a:picLocks noChangeAspect="1"/>
          </p:cNvPicPr>
          <p:nvPr userDrawn="1"/>
        </p:nvPicPr>
        <p:blipFill>
          <a:blip r:embed="rId3"/>
          <a:stretch>
            <a:fillRect/>
          </a:stretch>
        </p:blipFill>
        <p:spPr>
          <a:xfrm>
            <a:off x="241300" y="5060791"/>
            <a:ext cx="2667000" cy="2667000"/>
          </a:xfrm>
          <a:prstGeom prst="rect">
            <a:avLst/>
          </a:prstGeom>
        </p:spPr>
      </p:pic>
      <p:pic>
        <p:nvPicPr>
          <p:cNvPr id="15" name="Picture 14">
            <a:extLst>
              <a:ext uri="{FF2B5EF4-FFF2-40B4-BE49-F238E27FC236}">
                <a16:creationId xmlns:a16="http://schemas.microsoft.com/office/drawing/2014/main" id="{C1CEFB84-6EAE-438C-BAAC-D1B608E309FB}"/>
              </a:ext>
            </a:extLst>
          </p:cNvPr>
          <p:cNvPicPr>
            <a:picLocks noChangeAspect="1"/>
          </p:cNvPicPr>
          <p:nvPr userDrawn="1"/>
        </p:nvPicPr>
        <p:blipFill>
          <a:blip r:embed="rId4"/>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40711926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02_Title Slide_b">
    <p:spTree>
      <p:nvGrpSpPr>
        <p:cNvPr id="1" name=""/>
        <p:cNvGrpSpPr/>
        <p:nvPr/>
      </p:nvGrpSpPr>
      <p:grpSpPr>
        <a:xfrm>
          <a:off x="0" y="0"/>
          <a:ext cx="0" cy="0"/>
          <a:chOff x="0" y="0"/>
          <a:chExt cx="0" cy="0"/>
        </a:xfrm>
      </p:grpSpPr>
      <p:sp>
        <p:nvSpPr>
          <p:cNvPr id="10" name="Rectangle 9"/>
          <p:cNvSpPr/>
          <p:nvPr userDrawn="1"/>
        </p:nvSpPr>
        <p:spPr>
          <a:xfrm>
            <a:off x="0" y="349251"/>
            <a:ext cx="12192000" cy="562098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userDrawn="1"/>
        </p:nvSpPr>
        <p:spPr>
          <a:xfrm>
            <a:off x="0" y="5970229"/>
            <a:ext cx="12192000" cy="887771"/>
          </a:xfrm>
          <a:prstGeom prst="rect">
            <a:avLst/>
          </a:prstGeom>
          <a:solidFill>
            <a:srgbClr val="0096D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ctrTitle"/>
          </p:nvPr>
        </p:nvSpPr>
        <p:spPr>
          <a:xfrm>
            <a:off x="1464062" y="1947337"/>
            <a:ext cx="9525673" cy="1549399"/>
          </a:xfrm>
        </p:spPr>
        <p:txBody>
          <a:bodyPr>
            <a:noAutofit/>
          </a:bodyPr>
          <a:lstStyle>
            <a:lvl1pPr algn="l">
              <a:defRPr sz="5867">
                <a:solidFill>
                  <a:srgbClr val="002D56"/>
                </a:solidFill>
                <a:latin typeface="Franklin Gothic Book"/>
              </a:defRPr>
            </a:lvl1pPr>
          </a:lstStyle>
          <a:p>
            <a:r>
              <a:rPr lang="en-US"/>
              <a:t>Click to edit Master title style</a:t>
            </a:r>
          </a:p>
        </p:txBody>
      </p:sp>
      <p:sp>
        <p:nvSpPr>
          <p:cNvPr id="3" name="Subtitle 2"/>
          <p:cNvSpPr>
            <a:spLocks noGrp="1"/>
          </p:cNvSpPr>
          <p:nvPr>
            <p:ph type="subTitle" idx="1"/>
          </p:nvPr>
        </p:nvSpPr>
        <p:spPr>
          <a:xfrm>
            <a:off x="1464061" y="3496735"/>
            <a:ext cx="8611275" cy="857251"/>
          </a:xfrm>
        </p:spPr>
        <p:txBody>
          <a:bodyPr>
            <a:normAutofit/>
          </a:bodyPr>
          <a:lstStyle>
            <a:lvl1pPr marL="0" indent="0" algn="l">
              <a:buNone/>
              <a:defRPr sz="2933">
                <a:solidFill>
                  <a:schemeClr val="tx1">
                    <a:lumMod val="65000"/>
                    <a:lumOff val="35000"/>
                  </a:schemeClr>
                </a:solidFill>
                <a:latin typeface="Franklin Gothic Book"/>
                <a:cs typeface="Franklin Gothic Book"/>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9" name="Parallelogram 8"/>
          <p:cNvSpPr/>
          <p:nvPr userDrawn="1"/>
        </p:nvSpPr>
        <p:spPr>
          <a:xfrm flipH="1">
            <a:off x="1464061" y="1648495"/>
            <a:ext cx="991272" cy="60959"/>
          </a:xfrm>
          <a:prstGeom prst="parallelogram">
            <a:avLst/>
          </a:prstGeom>
          <a:solidFill>
            <a:srgbClr val="9FA6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8" name="Picture 17" descr="HeaderBar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85216"/>
          </a:xfrm>
          <a:prstGeom prst="rect">
            <a:avLst/>
          </a:prstGeom>
        </p:spPr>
      </p:pic>
      <p:pic>
        <p:nvPicPr>
          <p:cNvPr id="12" name="Picture 11" descr="Logo, company name&#10;&#10;Description automatically generated">
            <a:extLst>
              <a:ext uri="{FF2B5EF4-FFF2-40B4-BE49-F238E27FC236}">
                <a16:creationId xmlns:a16="http://schemas.microsoft.com/office/drawing/2014/main" id="{305B0981-E769-4B3C-992D-81149CF66514}"/>
              </a:ext>
            </a:extLst>
          </p:cNvPr>
          <p:cNvPicPr>
            <a:picLocks noChangeAspect="1"/>
          </p:cNvPicPr>
          <p:nvPr userDrawn="1"/>
        </p:nvPicPr>
        <p:blipFill>
          <a:blip r:embed="rId3"/>
          <a:stretch>
            <a:fillRect/>
          </a:stretch>
        </p:blipFill>
        <p:spPr>
          <a:xfrm>
            <a:off x="241300" y="5060791"/>
            <a:ext cx="2667000" cy="2667000"/>
          </a:xfrm>
          <a:prstGeom prst="rect">
            <a:avLst/>
          </a:prstGeom>
        </p:spPr>
      </p:pic>
      <p:pic>
        <p:nvPicPr>
          <p:cNvPr id="13" name="Picture 12">
            <a:extLst>
              <a:ext uri="{FF2B5EF4-FFF2-40B4-BE49-F238E27FC236}">
                <a16:creationId xmlns:a16="http://schemas.microsoft.com/office/drawing/2014/main" id="{07236336-BF82-4042-AEAB-898CD149696D}"/>
              </a:ext>
            </a:extLst>
          </p:cNvPr>
          <p:cNvPicPr>
            <a:picLocks noChangeAspect="1"/>
          </p:cNvPicPr>
          <p:nvPr userDrawn="1"/>
        </p:nvPicPr>
        <p:blipFill>
          <a:blip r:embed="rId4"/>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16444233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1 - ORANGE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ED262956-0B92-2A40-D55F-3B983D3AA9C7}"/>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E35B2A"/>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4882713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03_Title and Content_b">
    <p:spTree>
      <p:nvGrpSpPr>
        <p:cNvPr id="1" name=""/>
        <p:cNvGrpSpPr/>
        <p:nvPr/>
      </p:nvGrpSpPr>
      <p:grpSpPr>
        <a:xfrm>
          <a:off x="0" y="0"/>
          <a:ext cx="0" cy="0"/>
          <a:chOff x="0" y="0"/>
          <a:chExt cx="0" cy="0"/>
        </a:xfrm>
      </p:grpSpPr>
      <p:sp>
        <p:nvSpPr>
          <p:cNvPr id="2" name="Title 1"/>
          <p:cNvSpPr>
            <a:spLocks noGrp="1"/>
          </p:cNvSpPr>
          <p:nvPr>
            <p:ph type="title"/>
          </p:nvPr>
        </p:nvSpPr>
        <p:spPr>
          <a:xfrm>
            <a:off x="1651000" y="1377950"/>
            <a:ext cx="9144000" cy="1290639"/>
          </a:xfrm>
        </p:spPr>
        <p:txBody>
          <a:bodyPr>
            <a:normAutofit/>
          </a:bodyPr>
          <a:lstStyle>
            <a:lvl1pPr algn="l">
              <a:defRPr sz="5067" baseline="0">
                <a:solidFill>
                  <a:srgbClr val="D9531E"/>
                </a:solidFill>
                <a:latin typeface="Franklin Gothic Book"/>
              </a:defRPr>
            </a:lvl1pPr>
          </a:lstStyle>
          <a:p>
            <a:r>
              <a:rPr lang="en-US"/>
              <a:t>Click to edit Master title style</a:t>
            </a:r>
          </a:p>
        </p:txBody>
      </p:sp>
      <p:sp>
        <p:nvSpPr>
          <p:cNvPr id="3" name="Content Placeholder 2"/>
          <p:cNvSpPr>
            <a:spLocks noGrp="1"/>
          </p:cNvSpPr>
          <p:nvPr>
            <p:ph idx="1"/>
          </p:nvPr>
        </p:nvSpPr>
        <p:spPr>
          <a:xfrm>
            <a:off x="1651000" y="2914650"/>
            <a:ext cx="9144000" cy="2241551"/>
          </a:xfrm>
        </p:spPr>
        <p:txBody>
          <a:bodyPr>
            <a:normAutofit/>
          </a:bodyPr>
          <a:lstStyle>
            <a:lvl1pPr marL="0" indent="0">
              <a:spcBef>
                <a:spcPts val="0"/>
              </a:spcBef>
              <a:buFontTx/>
              <a:buNone/>
              <a:defRPr sz="2933" baseline="0">
                <a:solidFill>
                  <a:schemeClr val="tx1"/>
                </a:solidFill>
                <a:latin typeface="Franklin Gothic Book"/>
              </a:defRPr>
            </a:lvl1pPr>
            <a:lvl2pPr marL="0" indent="0">
              <a:spcBef>
                <a:spcPts val="0"/>
              </a:spcBef>
              <a:buFontTx/>
              <a:buNone/>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0" indent="0">
              <a:spcBef>
                <a:spcPts val="0"/>
              </a:spcBef>
              <a:buFontTx/>
              <a:buNone/>
              <a:defRPr sz="2933"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pic>
        <p:nvPicPr>
          <p:cNvPr id="15" name="Picture 14"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03200"/>
            <a:ext cx="12192000" cy="105664"/>
          </a:xfrm>
          <a:prstGeom prst="rect">
            <a:avLst/>
          </a:prstGeom>
        </p:spPr>
      </p:pic>
      <p:sp>
        <p:nvSpPr>
          <p:cNvPr id="11" name="Rectangle 10"/>
          <p:cNvSpPr/>
          <p:nvPr userDrawn="1"/>
        </p:nvSpPr>
        <p:spPr>
          <a:xfrm>
            <a:off x="0" y="5970229"/>
            <a:ext cx="12192000" cy="88777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9" name="Picture 8">
            <a:extLst>
              <a:ext uri="{FF2B5EF4-FFF2-40B4-BE49-F238E27FC236}">
                <a16:creationId xmlns:a16="http://schemas.microsoft.com/office/drawing/2014/main" id="{4356BE3D-4247-4AD4-97A3-C45A5E0FCFEE}"/>
              </a:ext>
            </a:extLst>
          </p:cNvPr>
          <p:cNvPicPr>
            <a:picLocks noChangeAspect="1"/>
          </p:cNvPicPr>
          <p:nvPr userDrawn="1"/>
        </p:nvPicPr>
        <p:blipFill rotWithShape="1">
          <a:blip r:embed="rId3"/>
          <a:srcRect l="16072" r="28789"/>
          <a:stretch/>
        </p:blipFill>
        <p:spPr>
          <a:xfrm>
            <a:off x="6341533" y="6134745"/>
            <a:ext cx="5372608" cy="530675"/>
          </a:xfrm>
          <a:prstGeom prst="rect">
            <a:avLst/>
          </a:prstGeom>
        </p:spPr>
      </p:pic>
      <p:pic>
        <p:nvPicPr>
          <p:cNvPr id="10" name="Picture 9" descr="Text&#10;&#10;Description automatically generated">
            <a:extLst>
              <a:ext uri="{FF2B5EF4-FFF2-40B4-BE49-F238E27FC236}">
                <a16:creationId xmlns:a16="http://schemas.microsoft.com/office/drawing/2014/main" id="{01D0266C-8F1A-45CC-8FCB-F28185F5BF84}"/>
              </a:ext>
            </a:extLst>
          </p:cNvPr>
          <p:cNvPicPr>
            <a:picLocks noChangeAspect="1"/>
          </p:cNvPicPr>
          <p:nvPr userDrawn="1"/>
        </p:nvPicPr>
        <p:blipFill>
          <a:blip r:embed="rId4"/>
          <a:stretch>
            <a:fillRect/>
          </a:stretch>
        </p:blipFill>
        <p:spPr>
          <a:xfrm>
            <a:off x="477859" y="6149162"/>
            <a:ext cx="1838019" cy="501844"/>
          </a:xfrm>
          <a:prstGeom prst="rect">
            <a:avLst/>
          </a:prstGeom>
        </p:spPr>
      </p:pic>
    </p:spTree>
    <p:extLst>
      <p:ext uri="{BB962C8B-B14F-4D97-AF65-F5344CB8AC3E}">
        <p14:creationId xmlns:p14="http://schemas.microsoft.com/office/powerpoint/2010/main" val="25664699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04_Title and Content_b">
    <p:spTree>
      <p:nvGrpSpPr>
        <p:cNvPr id="1" name=""/>
        <p:cNvGrpSpPr/>
        <p:nvPr/>
      </p:nvGrpSpPr>
      <p:grpSpPr>
        <a:xfrm>
          <a:off x="0" y="0"/>
          <a:ext cx="0" cy="0"/>
          <a:chOff x="0" y="0"/>
          <a:chExt cx="0" cy="0"/>
        </a:xfrm>
      </p:grpSpPr>
      <p:sp>
        <p:nvSpPr>
          <p:cNvPr id="8" name="Title 1"/>
          <p:cNvSpPr>
            <a:spLocks noGrp="1"/>
          </p:cNvSpPr>
          <p:nvPr>
            <p:ph type="title"/>
          </p:nvPr>
        </p:nvSpPr>
        <p:spPr>
          <a:xfrm>
            <a:off x="1645019" y="1793128"/>
            <a:ext cx="2142076" cy="1375824"/>
          </a:xfrm>
        </p:spPr>
        <p:txBody>
          <a:bodyPr>
            <a:normAutofit/>
          </a:bodyPr>
          <a:lstStyle>
            <a:lvl1pPr algn="ctr">
              <a:defRPr sz="2933" baseline="0">
                <a:solidFill>
                  <a:schemeClr val="accent2"/>
                </a:solidFill>
                <a:latin typeface="Franklin Gothic Book"/>
              </a:defRPr>
            </a:lvl1pPr>
          </a:lstStyle>
          <a:p>
            <a:r>
              <a:rPr lang="en-US"/>
              <a:t>Click to edit Master title style</a:t>
            </a:r>
          </a:p>
        </p:txBody>
      </p:sp>
      <p:sp>
        <p:nvSpPr>
          <p:cNvPr id="10" name="Rectangle 9"/>
          <p:cNvSpPr/>
          <p:nvPr userDrawn="1"/>
        </p:nvSpPr>
        <p:spPr>
          <a:xfrm>
            <a:off x="1106520" y="623882"/>
            <a:ext cx="3219075" cy="3714317"/>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6"/>
          <p:cNvSpPr>
            <a:spLocks noGrp="1"/>
          </p:cNvSpPr>
          <p:nvPr>
            <p:ph type="body" sz="quarter" idx="11" hasCustomPrompt="1"/>
          </p:nvPr>
        </p:nvSpPr>
        <p:spPr>
          <a:xfrm>
            <a:off x="229339" y="4627760"/>
            <a:ext cx="4973437" cy="1110637"/>
          </a:xfrm>
        </p:spPr>
        <p:txBody>
          <a:bodyPr>
            <a:normAutofit/>
          </a:bodyPr>
          <a:lstStyle>
            <a:lvl1pPr marL="0" indent="0" algn="ctr">
              <a:buNone/>
              <a:defRPr sz="2400" baseline="0">
                <a:latin typeface="Franklin Gothic Book" panose="020B0503020102020204" pitchFamily="34" charset="0"/>
              </a:defRPr>
            </a:lvl1pPr>
          </a:lstStyle>
          <a:p>
            <a:pPr lvl="0"/>
            <a:r>
              <a:rPr lang="en-US"/>
              <a:t>Click to edit sub master text styles</a:t>
            </a:r>
          </a:p>
        </p:txBody>
      </p:sp>
      <p:pic>
        <p:nvPicPr>
          <p:cNvPr id="13" name="Picture 12"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9339" y="4456635"/>
            <a:ext cx="4973437" cy="113396"/>
          </a:xfrm>
          <a:prstGeom prst="rect">
            <a:avLst/>
          </a:prstGeom>
        </p:spPr>
      </p:pic>
      <p:sp>
        <p:nvSpPr>
          <p:cNvPr id="14" name="Content Placeholder 2"/>
          <p:cNvSpPr>
            <a:spLocks noGrp="1" noChangeAspect="1"/>
          </p:cNvSpPr>
          <p:nvPr>
            <p:ph idx="1"/>
          </p:nvPr>
        </p:nvSpPr>
        <p:spPr>
          <a:xfrm>
            <a:off x="6115353" y="623882"/>
            <a:ext cx="5767009" cy="5114516"/>
          </a:xfrm>
        </p:spPr>
        <p:txBody>
          <a:bodyPr>
            <a:normAutofit/>
          </a:bodyPr>
          <a:lstStyle>
            <a:lvl1pPr marL="457177" indent="-457177">
              <a:spcBef>
                <a:spcPts val="0"/>
              </a:spcBef>
              <a:buFont typeface="Arial" panose="020B0604020202020204" pitchFamily="34" charset="0"/>
              <a:buChar char="•"/>
              <a:defRPr sz="2933" baseline="0">
                <a:solidFill>
                  <a:schemeClr val="tx1"/>
                </a:solidFill>
                <a:latin typeface="Franklin Gothic Book"/>
              </a:defRPr>
            </a:lvl1pPr>
            <a:lvl2pPr marL="457177" indent="-457177">
              <a:spcBef>
                <a:spcPts val="0"/>
              </a:spcBef>
              <a:buFont typeface="Arial" panose="020B0604020202020204" pitchFamily="34" charset="0"/>
              <a:buChar char="•"/>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910121" indent="-457177">
              <a:spcBef>
                <a:spcPts val="0"/>
              </a:spcBef>
              <a:buFont typeface="Arial" panose="020B0604020202020204" pitchFamily="34" charset="0"/>
              <a:buChar char="•"/>
              <a:defRPr sz="2667"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vl6pPr marL="1219139" indent="-304784">
              <a:defRPr sz="2400">
                <a:latin typeface="Franklin Gothic Book" panose="020B0503020102020204" pitchFamily="34" charset="0"/>
              </a:defRPr>
            </a:lvl6pPr>
          </a:lstStyle>
          <a:p>
            <a:pPr lvl="0"/>
            <a:r>
              <a:rPr lang="en-US"/>
              <a:t>Edit Master text styles</a:t>
            </a:r>
          </a:p>
          <a:p>
            <a:pPr lvl="3"/>
            <a:r>
              <a:rPr lang="en-US"/>
              <a:t>Second level</a:t>
            </a:r>
          </a:p>
          <a:p>
            <a:pPr lvl="5"/>
            <a:r>
              <a:rPr lang="en-US"/>
              <a:t>Third level</a:t>
            </a:r>
          </a:p>
        </p:txBody>
      </p:sp>
      <p:sp>
        <p:nvSpPr>
          <p:cNvPr id="16" name="Rectangle 15"/>
          <p:cNvSpPr/>
          <p:nvPr userDrawn="1"/>
        </p:nvSpPr>
        <p:spPr>
          <a:xfrm>
            <a:off x="0" y="5970229"/>
            <a:ext cx="12192000" cy="88777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5" name="Picture 14">
            <a:extLst>
              <a:ext uri="{FF2B5EF4-FFF2-40B4-BE49-F238E27FC236}">
                <a16:creationId xmlns:a16="http://schemas.microsoft.com/office/drawing/2014/main" id="{B83F15DA-5709-4896-9F0D-A6BB7EDE2CCC}"/>
              </a:ext>
            </a:extLst>
          </p:cNvPr>
          <p:cNvPicPr>
            <a:picLocks noChangeAspect="1"/>
          </p:cNvPicPr>
          <p:nvPr userDrawn="1"/>
        </p:nvPicPr>
        <p:blipFill rotWithShape="1">
          <a:blip r:embed="rId3"/>
          <a:srcRect l="16072" r="28789"/>
          <a:stretch/>
        </p:blipFill>
        <p:spPr>
          <a:xfrm>
            <a:off x="6341533" y="6134745"/>
            <a:ext cx="5372608" cy="530675"/>
          </a:xfrm>
          <a:prstGeom prst="rect">
            <a:avLst/>
          </a:prstGeom>
        </p:spPr>
      </p:pic>
      <p:pic>
        <p:nvPicPr>
          <p:cNvPr id="17" name="Picture 16" descr="Text&#10;&#10;Description automatically generated">
            <a:extLst>
              <a:ext uri="{FF2B5EF4-FFF2-40B4-BE49-F238E27FC236}">
                <a16:creationId xmlns:a16="http://schemas.microsoft.com/office/drawing/2014/main" id="{DD9596ED-1540-4883-8F75-BCA80C6EB2A3}"/>
              </a:ext>
            </a:extLst>
          </p:cNvPr>
          <p:cNvPicPr>
            <a:picLocks noChangeAspect="1"/>
          </p:cNvPicPr>
          <p:nvPr userDrawn="1"/>
        </p:nvPicPr>
        <p:blipFill>
          <a:blip r:embed="rId4"/>
          <a:stretch>
            <a:fillRect/>
          </a:stretch>
        </p:blipFill>
        <p:spPr>
          <a:xfrm>
            <a:off x="477859" y="6149162"/>
            <a:ext cx="1838019" cy="501844"/>
          </a:xfrm>
          <a:prstGeom prst="rect">
            <a:avLst/>
          </a:prstGeom>
        </p:spPr>
      </p:pic>
    </p:spTree>
    <p:extLst>
      <p:ext uri="{BB962C8B-B14F-4D97-AF65-F5344CB8AC3E}">
        <p14:creationId xmlns:p14="http://schemas.microsoft.com/office/powerpoint/2010/main" val="30522889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05_Three Content Category_b">
    <p:spTree>
      <p:nvGrpSpPr>
        <p:cNvPr id="1" name=""/>
        <p:cNvGrpSpPr/>
        <p:nvPr/>
      </p:nvGrpSpPr>
      <p:grpSpPr>
        <a:xfrm>
          <a:off x="0" y="0"/>
          <a:ext cx="0" cy="0"/>
          <a:chOff x="0" y="0"/>
          <a:chExt cx="0" cy="0"/>
        </a:xfrm>
      </p:grpSpPr>
      <p:sp>
        <p:nvSpPr>
          <p:cNvPr id="8" name="Title 1"/>
          <p:cNvSpPr>
            <a:spLocks noGrp="1" noChangeAspect="1"/>
          </p:cNvSpPr>
          <p:nvPr>
            <p:ph type="title"/>
          </p:nvPr>
        </p:nvSpPr>
        <p:spPr>
          <a:xfrm>
            <a:off x="178888" y="410547"/>
            <a:ext cx="5931125" cy="1720851"/>
          </a:xfrm>
          <a:noFill/>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9" name="Content Placeholder 2"/>
          <p:cNvSpPr>
            <a:spLocks noGrp="1" noChangeAspect="1"/>
          </p:cNvSpPr>
          <p:nvPr>
            <p:ph idx="1"/>
          </p:nvPr>
        </p:nvSpPr>
        <p:spPr>
          <a:xfrm>
            <a:off x="6341533" y="410549"/>
            <a:ext cx="5668288" cy="5449377"/>
          </a:xfrm>
        </p:spPr>
        <p:txBody>
          <a:bodyPr>
            <a:normAutofit/>
          </a:bodyPr>
          <a:lstStyle>
            <a:lvl1pPr marL="457177" indent="-457177">
              <a:spcBef>
                <a:spcPts val="0"/>
              </a:spcBef>
              <a:buFont typeface="Arial" panose="020B0604020202020204" pitchFamily="34" charset="0"/>
              <a:buChar char="•"/>
              <a:defRPr sz="2933" baseline="0">
                <a:solidFill>
                  <a:schemeClr val="tx1"/>
                </a:solidFill>
                <a:latin typeface="Franklin Gothic Book"/>
              </a:defRPr>
            </a:lvl1pPr>
            <a:lvl2pPr marL="457177" indent="-457177">
              <a:spcBef>
                <a:spcPts val="0"/>
              </a:spcBef>
              <a:buFont typeface="Arial" panose="020B0604020202020204" pitchFamily="34" charset="0"/>
              <a:buChar char="•"/>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910121" indent="-457177">
              <a:spcBef>
                <a:spcPts val="0"/>
              </a:spcBef>
              <a:buFont typeface="Arial" panose="020B0604020202020204" pitchFamily="34" charset="0"/>
              <a:buChar char="•"/>
              <a:defRPr sz="2667"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vl6pPr marL="1219139" indent="-304784">
              <a:defRPr sz="2400">
                <a:latin typeface="Franklin Gothic Book" panose="020B0503020102020204" pitchFamily="34" charset="0"/>
              </a:defRPr>
            </a:lvl6pPr>
          </a:lstStyle>
          <a:p>
            <a:pPr lvl="0"/>
            <a:r>
              <a:rPr lang="en-US"/>
              <a:t>Edit Master text styles</a:t>
            </a:r>
          </a:p>
          <a:p>
            <a:pPr lvl="3"/>
            <a:r>
              <a:rPr lang="en-US"/>
              <a:t>Second level</a:t>
            </a:r>
          </a:p>
          <a:p>
            <a:pPr lvl="5"/>
            <a:r>
              <a:rPr lang="en-US"/>
              <a:t>Third level</a:t>
            </a:r>
          </a:p>
        </p:txBody>
      </p:sp>
      <p:sp>
        <p:nvSpPr>
          <p:cNvPr id="10" name="Text Placeholder 32"/>
          <p:cNvSpPr>
            <a:spLocks noGrp="1"/>
          </p:cNvSpPr>
          <p:nvPr>
            <p:ph type="body" sz="quarter" idx="26"/>
          </p:nvPr>
        </p:nvSpPr>
        <p:spPr>
          <a:xfrm>
            <a:off x="431800" y="2395290"/>
            <a:ext cx="5678213" cy="922407"/>
          </a:xfrm>
        </p:spPr>
        <p:txBody>
          <a:bodyPr/>
          <a:lstStyle>
            <a:lvl1pPr marL="0" indent="0">
              <a:buNone/>
              <a:defRPr sz="2400" b="0">
                <a:latin typeface="Franklin Gothic Book" panose="020B0503020102020204" pitchFamily="34" charset="0"/>
              </a:defRPr>
            </a:lvl1pPr>
            <a:lvl2pPr marL="380982" indent="-380982">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2" name="Rectangle 11"/>
          <p:cNvSpPr>
            <a:spLocks/>
          </p:cNvSpPr>
          <p:nvPr userDrawn="1"/>
        </p:nvSpPr>
        <p:spPr>
          <a:xfrm>
            <a:off x="186209" y="2403296"/>
            <a:ext cx="60959"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32"/>
          <p:cNvSpPr>
            <a:spLocks noGrp="1"/>
          </p:cNvSpPr>
          <p:nvPr>
            <p:ph type="body" sz="quarter" idx="27"/>
          </p:nvPr>
        </p:nvSpPr>
        <p:spPr>
          <a:xfrm>
            <a:off x="431800" y="3597021"/>
            <a:ext cx="5678213" cy="913408"/>
          </a:xfrm>
        </p:spPr>
        <p:txBody>
          <a:bodyPr/>
          <a:lstStyle>
            <a:lvl1pPr marL="0" indent="0">
              <a:buNone/>
              <a:defRPr sz="2400" b="0">
                <a:latin typeface="Franklin Gothic Book" panose="020B0503020102020204" pitchFamily="34" charset="0"/>
              </a:defRPr>
            </a:lvl1pPr>
            <a:lvl2pPr marL="380982" indent="-380982">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4" name="Rectangle 13"/>
          <p:cNvSpPr>
            <a:spLocks/>
          </p:cNvSpPr>
          <p:nvPr userDrawn="1"/>
        </p:nvSpPr>
        <p:spPr>
          <a:xfrm>
            <a:off x="186207" y="3596029"/>
            <a:ext cx="60959"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Text Placeholder 32"/>
          <p:cNvSpPr>
            <a:spLocks noGrp="1"/>
          </p:cNvSpPr>
          <p:nvPr>
            <p:ph type="body" sz="quarter" idx="28"/>
          </p:nvPr>
        </p:nvSpPr>
        <p:spPr>
          <a:xfrm>
            <a:off x="431800" y="4790784"/>
            <a:ext cx="5678213" cy="912379"/>
          </a:xfrm>
        </p:spPr>
        <p:txBody>
          <a:bodyPr/>
          <a:lstStyle>
            <a:lvl1pPr marL="0" indent="0">
              <a:buNone/>
              <a:defRPr sz="2400" b="0">
                <a:latin typeface="Franklin Gothic Book" panose="020B0503020102020204" pitchFamily="34" charset="0"/>
              </a:defRPr>
            </a:lvl1pPr>
            <a:lvl2pPr marL="457177" indent="-457177">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8" name="Rectangle 17"/>
          <p:cNvSpPr>
            <a:spLocks/>
          </p:cNvSpPr>
          <p:nvPr userDrawn="1"/>
        </p:nvSpPr>
        <p:spPr>
          <a:xfrm>
            <a:off x="186206" y="4788763"/>
            <a:ext cx="60959"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1" name="Picture 20"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933"/>
            <a:ext cx="12192000" cy="105664"/>
          </a:xfrm>
          <a:prstGeom prst="rect">
            <a:avLst/>
          </a:prstGeom>
        </p:spPr>
      </p:pic>
      <p:sp>
        <p:nvSpPr>
          <p:cNvPr id="17" name="Rectangle 16"/>
          <p:cNvSpPr/>
          <p:nvPr userDrawn="1"/>
        </p:nvSpPr>
        <p:spPr>
          <a:xfrm>
            <a:off x="0" y="5970229"/>
            <a:ext cx="12192000" cy="88777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9" name="Picture 18">
            <a:extLst>
              <a:ext uri="{FF2B5EF4-FFF2-40B4-BE49-F238E27FC236}">
                <a16:creationId xmlns:a16="http://schemas.microsoft.com/office/drawing/2014/main" id="{A9E066EB-5AD8-4A73-A332-73605C6A563D}"/>
              </a:ext>
            </a:extLst>
          </p:cNvPr>
          <p:cNvPicPr>
            <a:picLocks noChangeAspect="1"/>
          </p:cNvPicPr>
          <p:nvPr userDrawn="1"/>
        </p:nvPicPr>
        <p:blipFill rotWithShape="1">
          <a:blip r:embed="rId3"/>
          <a:srcRect l="16072" r="28789"/>
          <a:stretch/>
        </p:blipFill>
        <p:spPr>
          <a:xfrm>
            <a:off x="6341533" y="6134745"/>
            <a:ext cx="5372608" cy="530675"/>
          </a:xfrm>
          <a:prstGeom prst="rect">
            <a:avLst/>
          </a:prstGeom>
        </p:spPr>
      </p:pic>
      <p:pic>
        <p:nvPicPr>
          <p:cNvPr id="22" name="Picture 21" descr="Text&#10;&#10;Description automatically generated">
            <a:extLst>
              <a:ext uri="{FF2B5EF4-FFF2-40B4-BE49-F238E27FC236}">
                <a16:creationId xmlns:a16="http://schemas.microsoft.com/office/drawing/2014/main" id="{CCDA09F1-6FED-4375-A682-5BBA7732F329}"/>
              </a:ext>
            </a:extLst>
          </p:cNvPr>
          <p:cNvPicPr>
            <a:picLocks noChangeAspect="1"/>
          </p:cNvPicPr>
          <p:nvPr userDrawn="1"/>
        </p:nvPicPr>
        <p:blipFill>
          <a:blip r:embed="rId4"/>
          <a:stretch>
            <a:fillRect/>
          </a:stretch>
        </p:blipFill>
        <p:spPr>
          <a:xfrm>
            <a:off x="477859" y="6149162"/>
            <a:ext cx="1838019" cy="501844"/>
          </a:xfrm>
          <a:prstGeom prst="rect">
            <a:avLst/>
          </a:prstGeom>
        </p:spPr>
      </p:pic>
    </p:spTree>
    <p:extLst>
      <p:ext uri="{BB962C8B-B14F-4D97-AF65-F5344CB8AC3E}">
        <p14:creationId xmlns:p14="http://schemas.microsoft.com/office/powerpoint/2010/main" val="4684963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06_Five Content Category_b">
    <p:spTree>
      <p:nvGrpSpPr>
        <p:cNvPr id="1" name=""/>
        <p:cNvGrpSpPr/>
        <p:nvPr/>
      </p:nvGrpSpPr>
      <p:grpSpPr>
        <a:xfrm>
          <a:off x="0" y="0"/>
          <a:ext cx="0" cy="0"/>
          <a:chOff x="0" y="0"/>
          <a:chExt cx="0" cy="0"/>
        </a:xfrm>
      </p:grpSpPr>
      <p:sp>
        <p:nvSpPr>
          <p:cNvPr id="8" name="Title 1"/>
          <p:cNvSpPr>
            <a:spLocks noGrp="1" noChangeAspect="1"/>
          </p:cNvSpPr>
          <p:nvPr>
            <p:ph type="title"/>
          </p:nvPr>
        </p:nvSpPr>
        <p:spPr>
          <a:xfrm>
            <a:off x="178888" y="410547"/>
            <a:ext cx="5931125" cy="1720851"/>
          </a:xfrm>
          <a:noFill/>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9" name="Content Placeholder 2"/>
          <p:cNvSpPr>
            <a:spLocks noGrp="1" noChangeAspect="1"/>
          </p:cNvSpPr>
          <p:nvPr>
            <p:ph idx="1"/>
          </p:nvPr>
        </p:nvSpPr>
        <p:spPr>
          <a:xfrm>
            <a:off x="6341533" y="410549"/>
            <a:ext cx="5668288" cy="5449377"/>
          </a:xfrm>
        </p:spPr>
        <p:txBody>
          <a:bodyPr>
            <a:normAutofit/>
          </a:bodyPr>
          <a:lstStyle>
            <a:lvl1pPr marL="457177" indent="-457177">
              <a:spcBef>
                <a:spcPts val="0"/>
              </a:spcBef>
              <a:buFont typeface="Arial" panose="020B0604020202020204" pitchFamily="34" charset="0"/>
              <a:buChar char="•"/>
              <a:defRPr sz="2933" baseline="0">
                <a:solidFill>
                  <a:schemeClr val="tx1"/>
                </a:solidFill>
                <a:latin typeface="Franklin Gothic Book"/>
              </a:defRPr>
            </a:lvl1pPr>
            <a:lvl2pPr marL="457177" indent="-457177">
              <a:spcBef>
                <a:spcPts val="0"/>
              </a:spcBef>
              <a:buFont typeface="Arial" panose="020B0604020202020204" pitchFamily="34" charset="0"/>
              <a:buChar char="•"/>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910121" indent="-457177">
              <a:spcBef>
                <a:spcPts val="0"/>
              </a:spcBef>
              <a:buFont typeface="Arial" panose="020B0604020202020204" pitchFamily="34" charset="0"/>
              <a:buChar char="•"/>
              <a:defRPr sz="2667"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vl6pPr marL="1219139" indent="-304784">
              <a:defRPr sz="2400">
                <a:latin typeface="Franklin Gothic Book" panose="020B0503020102020204" pitchFamily="34" charset="0"/>
              </a:defRPr>
            </a:lvl6pPr>
          </a:lstStyle>
          <a:p>
            <a:pPr lvl="0"/>
            <a:r>
              <a:rPr lang="en-US"/>
              <a:t>Edit Master text styles</a:t>
            </a:r>
          </a:p>
          <a:p>
            <a:pPr lvl="3"/>
            <a:r>
              <a:rPr lang="en-US"/>
              <a:t>Second level</a:t>
            </a:r>
          </a:p>
          <a:p>
            <a:pPr lvl="5"/>
            <a:r>
              <a:rPr lang="en-US"/>
              <a:t>Third level</a:t>
            </a:r>
          </a:p>
        </p:txBody>
      </p:sp>
      <p:sp>
        <p:nvSpPr>
          <p:cNvPr id="10" name="Text Placeholder 32"/>
          <p:cNvSpPr>
            <a:spLocks noGrp="1"/>
          </p:cNvSpPr>
          <p:nvPr>
            <p:ph type="body" sz="quarter" idx="26"/>
          </p:nvPr>
        </p:nvSpPr>
        <p:spPr>
          <a:xfrm>
            <a:off x="431800" y="2248481"/>
            <a:ext cx="5678213" cy="721732"/>
          </a:xfrm>
        </p:spPr>
        <p:txBody>
          <a:bodyPr/>
          <a:lstStyle>
            <a:lvl1pPr marL="0" indent="0">
              <a:buNone/>
              <a:defRPr sz="2400" b="0">
                <a:latin typeface="Franklin Gothic Book" panose="020B0503020102020204" pitchFamily="34" charset="0"/>
              </a:defRPr>
            </a:lvl1pPr>
            <a:lvl2pPr marL="380982" indent="-380982">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2" name="Rectangle 11"/>
          <p:cNvSpPr>
            <a:spLocks/>
          </p:cNvSpPr>
          <p:nvPr userDrawn="1"/>
        </p:nvSpPr>
        <p:spPr>
          <a:xfrm>
            <a:off x="186209" y="2248480"/>
            <a:ext cx="60959" cy="73152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32"/>
          <p:cNvSpPr>
            <a:spLocks noGrp="1"/>
          </p:cNvSpPr>
          <p:nvPr>
            <p:ph type="body" sz="quarter" idx="27"/>
          </p:nvPr>
        </p:nvSpPr>
        <p:spPr>
          <a:xfrm>
            <a:off x="431800" y="3203811"/>
            <a:ext cx="5678213" cy="735097"/>
          </a:xfrm>
        </p:spPr>
        <p:txBody>
          <a:bodyPr/>
          <a:lstStyle>
            <a:lvl1pPr marL="0" indent="0">
              <a:buNone/>
              <a:defRPr sz="2400" b="0">
                <a:latin typeface="Franklin Gothic Book" panose="020B0503020102020204" pitchFamily="34" charset="0"/>
              </a:defRPr>
            </a:lvl1pPr>
            <a:lvl2pPr marL="380982" indent="-380982">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4" name="Rectangle 13"/>
          <p:cNvSpPr>
            <a:spLocks/>
          </p:cNvSpPr>
          <p:nvPr userDrawn="1"/>
        </p:nvSpPr>
        <p:spPr>
          <a:xfrm>
            <a:off x="186207" y="3207388"/>
            <a:ext cx="60959" cy="73152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Text Placeholder 32"/>
          <p:cNvSpPr>
            <a:spLocks noGrp="1"/>
          </p:cNvSpPr>
          <p:nvPr>
            <p:ph type="body" sz="quarter" idx="28"/>
          </p:nvPr>
        </p:nvSpPr>
        <p:spPr>
          <a:xfrm>
            <a:off x="431800" y="4166296"/>
            <a:ext cx="5678213" cy="731520"/>
          </a:xfrm>
        </p:spPr>
        <p:txBody>
          <a:bodyPr/>
          <a:lstStyle>
            <a:lvl1pPr marL="0" indent="0">
              <a:buNone/>
              <a:defRPr sz="2400" b="0">
                <a:latin typeface="Franklin Gothic Book" panose="020B0503020102020204" pitchFamily="34" charset="0"/>
              </a:defRPr>
            </a:lvl1pPr>
            <a:lvl2pPr marL="457177" indent="-457177">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8" name="Rectangle 17"/>
          <p:cNvSpPr>
            <a:spLocks/>
          </p:cNvSpPr>
          <p:nvPr userDrawn="1"/>
        </p:nvSpPr>
        <p:spPr>
          <a:xfrm>
            <a:off x="186206" y="4166296"/>
            <a:ext cx="60959" cy="73152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Text Placeholder 32"/>
          <p:cNvSpPr>
            <a:spLocks noGrp="1"/>
          </p:cNvSpPr>
          <p:nvPr>
            <p:ph type="body" sz="quarter" idx="29"/>
          </p:nvPr>
        </p:nvSpPr>
        <p:spPr>
          <a:xfrm>
            <a:off x="431800" y="5131415"/>
            <a:ext cx="5678213" cy="728511"/>
          </a:xfrm>
        </p:spPr>
        <p:txBody>
          <a:bodyPr/>
          <a:lstStyle>
            <a:lvl1pPr marL="0" indent="0">
              <a:buNone/>
              <a:defRPr sz="2400" b="0">
                <a:latin typeface="Franklin Gothic Book" panose="020B0503020102020204" pitchFamily="34" charset="0"/>
              </a:defRPr>
            </a:lvl1pPr>
            <a:lvl2pPr marL="457177" indent="-457177">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20" name="Rectangle 19"/>
          <p:cNvSpPr>
            <a:spLocks/>
          </p:cNvSpPr>
          <p:nvPr userDrawn="1"/>
        </p:nvSpPr>
        <p:spPr>
          <a:xfrm>
            <a:off x="178889" y="5128405"/>
            <a:ext cx="60959" cy="73152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1" name="Picture 20"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933"/>
            <a:ext cx="12192000" cy="105664"/>
          </a:xfrm>
          <a:prstGeom prst="rect">
            <a:avLst/>
          </a:prstGeom>
        </p:spPr>
      </p:pic>
      <p:sp>
        <p:nvSpPr>
          <p:cNvPr id="17" name="Rectangle 16"/>
          <p:cNvSpPr/>
          <p:nvPr userDrawn="1"/>
        </p:nvSpPr>
        <p:spPr>
          <a:xfrm>
            <a:off x="0" y="5970229"/>
            <a:ext cx="12192000" cy="88777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22" name="Picture 21">
            <a:extLst>
              <a:ext uri="{FF2B5EF4-FFF2-40B4-BE49-F238E27FC236}">
                <a16:creationId xmlns:a16="http://schemas.microsoft.com/office/drawing/2014/main" id="{B62AF2E2-E494-401E-BF15-8C061B54CCE0}"/>
              </a:ext>
            </a:extLst>
          </p:cNvPr>
          <p:cNvPicPr>
            <a:picLocks noChangeAspect="1"/>
          </p:cNvPicPr>
          <p:nvPr userDrawn="1"/>
        </p:nvPicPr>
        <p:blipFill rotWithShape="1">
          <a:blip r:embed="rId3"/>
          <a:srcRect l="16072" r="28789"/>
          <a:stretch/>
        </p:blipFill>
        <p:spPr>
          <a:xfrm>
            <a:off x="6341533" y="6134745"/>
            <a:ext cx="5372608" cy="530675"/>
          </a:xfrm>
          <a:prstGeom prst="rect">
            <a:avLst/>
          </a:prstGeom>
        </p:spPr>
      </p:pic>
      <p:pic>
        <p:nvPicPr>
          <p:cNvPr id="24" name="Picture 23" descr="Text&#10;&#10;Description automatically generated">
            <a:extLst>
              <a:ext uri="{FF2B5EF4-FFF2-40B4-BE49-F238E27FC236}">
                <a16:creationId xmlns:a16="http://schemas.microsoft.com/office/drawing/2014/main" id="{59D60CE0-D00C-4694-8F8E-708EA658881F}"/>
              </a:ext>
            </a:extLst>
          </p:cNvPr>
          <p:cNvPicPr>
            <a:picLocks noChangeAspect="1"/>
          </p:cNvPicPr>
          <p:nvPr userDrawn="1"/>
        </p:nvPicPr>
        <p:blipFill>
          <a:blip r:embed="rId4"/>
          <a:stretch>
            <a:fillRect/>
          </a:stretch>
        </p:blipFill>
        <p:spPr>
          <a:xfrm>
            <a:off x="477859" y="6149162"/>
            <a:ext cx="1838019" cy="501844"/>
          </a:xfrm>
          <a:prstGeom prst="rect">
            <a:avLst/>
          </a:prstGeom>
        </p:spPr>
      </p:pic>
    </p:spTree>
    <p:extLst>
      <p:ext uri="{BB962C8B-B14F-4D97-AF65-F5344CB8AC3E}">
        <p14:creationId xmlns:p14="http://schemas.microsoft.com/office/powerpoint/2010/main" val="15823886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7_Multi Content_b">
    <p:spTree>
      <p:nvGrpSpPr>
        <p:cNvPr id="1" name=""/>
        <p:cNvGrpSpPr/>
        <p:nvPr/>
      </p:nvGrpSpPr>
      <p:grpSpPr>
        <a:xfrm>
          <a:off x="0" y="0"/>
          <a:ext cx="0" cy="0"/>
          <a:chOff x="0" y="0"/>
          <a:chExt cx="0" cy="0"/>
        </a:xfrm>
      </p:grpSpPr>
      <p:sp>
        <p:nvSpPr>
          <p:cNvPr id="8" name="Title 1"/>
          <p:cNvSpPr>
            <a:spLocks noGrp="1" noChangeAspect="1"/>
          </p:cNvSpPr>
          <p:nvPr>
            <p:ph type="title"/>
          </p:nvPr>
        </p:nvSpPr>
        <p:spPr>
          <a:xfrm>
            <a:off x="535913" y="278851"/>
            <a:ext cx="5517657" cy="1537823"/>
          </a:xfrm>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12" name="Content Placeholder 3"/>
          <p:cNvSpPr>
            <a:spLocks noGrp="1"/>
          </p:cNvSpPr>
          <p:nvPr>
            <p:ph sz="quarter" idx="17"/>
          </p:nvPr>
        </p:nvSpPr>
        <p:spPr>
          <a:xfrm>
            <a:off x="6266453" y="278851"/>
            <a:ext cx="5324883" cy="5597755"/>
          </a:xfrm>
        </p:spPr>
        <p:txBody>
          <a:bodyPr>
            <a:normAutofit/>
          </a:bodyPr>
          <a:lstStyle>
            <a:lvl1pPr>
              <a:defRPr sz="3200">
                <a:latin typeface="Franklin Gothic Book" panose="020B0503020102020204" pitchFamily="34" charset="0"/>
              </a:defRPr>
            </a:lvl1pPr>
            <a:lvl2pPr marL="990551" indent="-380982">
              <a:buFont typeface="Courier New" panose="02070309020205020404" pitchFamily="49" charset="0"/>
              <a:buChar char="o"/>
              <a:defRPr sz="2667"/>
            </a:lvl2pPr>
            <a:lvl3pPr marL="1523962" indent="-304792">
              <a:buFont typeface="Arial" panose="020B0604020202020204" pitchFamily="34" charset="0"/>
              <a:buChar char="•"/>
              <a:defRPr sz="2400"/>
            </a:lvl3pPr>
            <a:lvl4pPr marL="2133547" indent="-304792">
              <a:buFont typeface="Courier New" panose="02070309020205020404" pitchFamily="49" charset="0"/>
              <a:buChar char="o"/>
              <a:defRPr sz="2133"/>
            </a:lvl4pPr>
            <a:lvl5pPr marL="2743131" indent="-304792">
              <a:buFont typeface="Arial" panose="020B0604020202020204" pitchFamily="34" charset="0"/>
              <a:buChar char="•"/>
              <a:defRPr sz="18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535912" y="1816668"/>
            <a:ext cx="5517659" cy="111312"/>
          </a:xfrm>
          <a:prstGeom prst="rect">
            <a:avLst/>
          </a:prstGeom>
        </p:spPr>
      </p:pic>
      <p:sp>
        <p:nvSpPr>
          <p:cNvPr id="14" name="Content Placeholder 3"/>
          <p:cNvSpPr>
            <a:spLocks noGrp="1"/>
          </p:cNvSpPr>
          <p:nvPr>
            <p:ph sz="quarter" idx="18"/>
          </p:nvPr>
        </p:nvSpPr>
        <p:spPr>
          <a:xfrm>
            <a:off x="535913" y="2222277"/>
            <a:ext cx="5517657" cy="3654328"/>
          </a:xfrm>
        </p:spPr>
        <p:txBody>
          <a:bodyPr>
            <a:normAutofit/>
          </a:bodyPr>
          <a:lstStyle>
            <a:lvl1pPr>
              <a:defRPr sz="3200">
                <a:latin typeface="Franklin Gothic Book" panose="020B0503020102020204" pitchFamily="34" charset="0"/>
              </a:defRPr>
            </a:lvl1pPr>
            <a:lvl2pPr marL="990551" indent="-380982">
              <a:buFont typeface="Courier New" panose="02070309020205020404" pitchFamily="49" charset="0"/>
              <a:buChar char="o"/>
              <a:defRPr sz="2667"/>
            </a:lvl2pPr>
            <a:lvl3pPr marL="1523962" indent="-304792">
              <a:buFont typeface="Arial" panose="020B0604020202020204" pitchFamily="34" charset="0"/>
              <a:buChar char="•"/>
              <a:defRPr sz="2400"/>
            </a:lvl3pPr>
            <a:lvl4pPr marL="2133547" indent="-304792">
              <a:buFont typeface="Courier New" panose="02070309020205020404" pitchFamily="49" charset="0"/>
              <a:buChar char="o"/>
              <a:defRPr sz="2133"/>
            </a:lvl4pPr>
            <a:lvl5pPr marL="2743131" indent="-304792">
              <a:buFont typeface="Arial" panose="020B0604020202020204" pitchFamily="34" charset="0"/>
              <a:buChar char="•"/>
              <a:defRPr sz="18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nvSpPr>
        <p:spPr>
          <a:xfrm>
            <a:off x="0" y="5970229"/>
            <a:ext cx="12192000" cy="88777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a:extLst>
              <a:ext uri="{FF2B5EF4-FFF2-40B4-BE49-F238E27FC236}">
                <a16:creationId xmlns:a16="http://schemas.microsoft.com/office/drawing/2014/main" id="{BCD9B887-F970-4BC5-9D28-C6E2B5EF2E88}"/>
              </a:ext>
            </a:extLst>
          </p:cNvPr>
          <p:cNvPicPr>
            <a:picLocks noChangeAspect="1"/>
          </p:cNvPicPr>
          <p:nvPr userDrawn="1"/>
        </p:nvPicPr>
        <p:blipFill rotWithShape="1">
          <a:blip r:embed="rId3"/>
          <a:srcRect l="16072" r="28789"/>
          <a:stretch/>
        </p:blipFill>
        <p:spPr>
          <a:xfrm>
            <a:off x="6341533" y="6134745"/>
            <a:ext cx="5372608" cy="530675"/>
          </a:xfrm>
          <a:prstGeom prst="rect">
            <a:avLst/>
          </a:prstGeom>
        </p:spPr>
      </p:pic>
      <p:pic>
        <p:nvPicPr>
          <p:cNvPr id="15" name="Picture 14" descr="Text&#10;&#10;Description automatically generated">
            <a:extLst>
              <a:ext uri="{FF2B5EF4-FFF2-40B4-BE49-F238E27FC236}">
                <a16:creationId xmlns:a16="http://schemas.microsoft.com/office/drawing/2014/main" id="{4F996621-9E3A-457B-8406-4C853BE6BA71}"/>
              </a:ext>
            </a:extLst>
          </p:cNvPr>
          <p:cNvPicPr>
            <a:picLocks noChangeAspect="1"/>
          </p:cNvPicPr>
          <p:nvPr userDrawn="1"/>
        </p:nvPicPr>
        <p:blipFill>
          <a:blip r:embed="rId4"/>
          <a:stretch>
            <a:fillRect/>
          </a:stretch>
        </p:blipFill>
        <p:spPr>
          <a:xfrm>
            <a:off x="477859" y="6149162"/>
            <a:ext cx="1838019" cy="501844"/>
          </a:xfrm>
          <a:prstGeom prst="rect">
            <a:avLst/>
          </a:prstGeom>
        </p:spPr>
      </p:pic>
    </p:spTree>
    <p:extLst>
      <p:ext uri="{BB962C8B-B14F-4D97-AF65-F5344CB8AC3E}">
        <p14:creationId xmlns:p14="http://schemas.microsoft.com/office/powerpoint/2010/main" val="5942943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8_Three Boxed Content_b">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5"/>
          <a:stretch>
            <a:fillRect/>
          </a:stretch>
        </p:blipFill>
        <p:spPr>
          <a:xfrm>
            <a:off x="-1" y="1"/>
            <a:ext cx="12192000" cy="2136041"/>
          </a:xfrm>
          <a:prstGeom prst="rect">
            <a:avLst/>
          </a:prstGeom>
        </p:spPr>
      </p:pic>
      <p:sp>
        <p:nvSpPr>
          <p:cNvPr id="14" name="Title 1"/>
          <p:cNvSpPr>
            <a:spLocks noGrp="1"/>
          </p:cNvSpPr>
          <p:nvPr>
            <p:ph type="title"/>
          </p:nvPr>
        </p:nvSpPr>
        <p:spPr>
          <a:xfrm>
            <a:off x="1261242" y="414859"/>
            <a:ext cx="9669516" cy="1290639"/>
          </a:xfrm>
        </p:spPr>
        <p:txBody>
          <a:bodyPr>
            <a:normAutofit/>
          </a:bodyPr>
          <a:lstStyle>
            <a:lvl1pPr algn="ctr">
              <a:defRPr sz="5067" baseline="0">
                <a:solidFill>
                  <a:schemeClr val="bg1"/>
                </a:solidFill>
                <a:latin typeface="Franklin Gothic Book"/>
              </a:defRPr>
            </a:lvl1pPr>
          </a:lstStyle>
          <a:p>
            <a:r>
              <a:rPr lang="en-US"/>
              <a:t>Click to edit Master title style</a:t>
            </a:r>
          </a:p>
        </p:txBody>
      </p:sp>
      <p:pic>
        <p:nvPicPr>
          <p:cNvPr id="18" name="Picture 17" descr="ThinShearedLines_BlueRedYellow.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61243" y="1723489"/>
            <a:ext cx="9669516" cy="114009"/>
          </a:xfrm>
          <a:prstGeom prst="rect">
            <a:avLst/>
          </a:prstGeom>
        </p:spPr>
      </p:pic>
      <p:sp>
        <p:nvSpPr>
          <p:cNvPr id="19" name="Text Placeholder 23"/>
          <p:cNvSpPr>
            <a:spLocks noGrp="1" noChangeAspect="1"/>
          </p:cNvSpPr>
          <p:nvPr>
            <p:ph type="body" sz="quarter" idx="13"/>
            <p:custDataLst>
              <p:tags r:id="rId1"/>
            </p:custDataLst>
          </p:nvPr>
        </p:nvSpPr>
        <p:spPr>
          <a:xfrm>
            <a:off x="165543" y="3053517"/>
            <a:ext cx="3657600" cy="2819931"/>
          </a:xfrm>
        </p:spPr>
        <p:txBody>
          <a:bodyPr>
            <a:normAutofit/>
          </a:bodyPr>
          <a:lstStyle>
            <a:lvl1pPr>
              <a:defRPr sz="2667">
                <a:latin typeface="Franklin Gothic Book" panose="020B0503020102020204" pitchFamily="34" charset="0"/>
              </a:defRPr>
            </a:lvl1pPr>
            <a:lvl2pPr marL="990551" indent="-380982">
              <a:buFont typeface="Courier New" panose="02070309020205020404" pitchFamily="49" charset="0"/>
              <a:buChar char="o"/>
              <a:defRPr sz="2400">
                <a:latin typeface="Franklin Gothic Book" panose="020B0503020102020204" pitchFamily="34" charset="0"/>
              </a:defRPr>
            </a:lvl2pPr>
            <a:lvl3pPr marL="1600121" indent="-380982">
              <a:buFont typeface="Courier New" panose="02070309020205020404" pitchFamily="49" charset="0"/>
              <a:buChar char="o"/>
              <a:defRPr sz="2133">
                <a:latin typeface="Franklin Gothic Book" panose="020B0503020102020204" pitchFamily="34" charset="0"/>
              </a:defRPr>
            </a:lvl3pPr>
          </a:lstStyle>
          <a:p>
            <a:pPr lvl="0"/>
            <a:r>
              <a:rPr lang="en-US"/>
              <a:t>Edit Master text styles</a:t>
            </a:r>
          </a:p>
          <a:p>
            <a:pPr lvl="1"/>
            <a:r>
              <a:rPr lang="en-US"/>
              <a:t>Second level</a:t>
            </a:r>
          </a:p>
          <a:p>
            <a:pPr lvl="2"/>
            <a:r>
              <a:rPr lang="en-US"/>
              <a:t>Third level</a:t>
            </a:r>
          </a:p>
        </p:txBody>
      </p:sp>
      <p:sp>
        <p:nvSpPr>
          <p:cNvPr id="20" name="Text Placeholder 23"/>
          <p:cNvSpPr>
            <a:spLocks noGrp="1" noChangeAspect="1"/>
          </p:cNvSpPr>
          <p:nvPr>
            <p:ph type="body" sz="quarter" idx="14"/>
            <p:custDataLst>
              <p:tags r:id="rId2"/>
            </p:custDataLst>
          </p:nvPr>
        </p:nvSpPr>
        <p:spPr>
          <a:xfrm>
            <a:off x="4299388" y="3053517"/>
            <a:ext cx="3657600" cy="2819931"/>
          </a:xfrm>
        </p:spPr>
        <p:txBody>
          <a:bodyPr>
            <a:normAutofit/>
          </a:bodyPr>
          <a:lstStyle>
            <a:lvl1pPr>
              <a:defRPr sz="2667">
                <a:latin typeface="Franklin Gothic Book" panose="020B0503020102020204" pitchFamily="34" charset="0"/>
              </a:defRPr>
            </a:lvl1pPr>
            <a:lvl2pPr marL="990551" indent="-380982">
              <a:buFont typeface="Courier New" panose="02070309020205020404" pitchFamily="49" charset="0"/>
              <a:buChar char="o"/>
              <a:defRPr sz="2400">
                <a:latin typeface="Franklin Gothic Book" panose="020B0503020102020204" pitchFamily="34" charset="0"/>
              </a:defRPr>
            </a:lvl2pPr>
            <a:lvl3pPr marL="1600121" indent="-380982">
              <a:buFont typeface="Courier New" panose="02070309020205020404" pitchFamily="49" charset="0"/>
              <a:buChar char="o"/>
              <a:defRPr sz="2133">
                <a:latin typeface="Franklin Gothic Book" panose="020B0503020102020204" pitchFamily="34" charset="0"/>
              </a:defRPr>
            </a:lvl3pPr>
          </a:lstStyle>
          <a:p>
            <a:pPr lvl="0"/>
            <a:r>
              <a:rPr lang="en-US"/>
              <a:t>Edit Master text styles</a:t>
            </a:r>
          </a:p>
          <a:p>
            <a:pPr lvl="1"/>
            <a:r>
              <a:rPr lang="en-US"/>
              <a:t>Second level</a:t>
            </a:r>
          </a:p>
          <a:p>
            <a:pPr lvl="2"/>
            <a:r>
              <a:rPr lang="en-US"/>
              <a:t>Third level</a:t>
            </a:r>
          </a:p>
        </p:txBody>
      </p:sp>
      <p:sp>
        <p:nvSpPr>
          <p:cNvPr id="21" name="Text Placeholder 23"/>
          <p:cNvSpPr>
            <a:spLocks noGrp="1" noChangeAspect="1"/>
          </p:cNvSpPr>
          <p:nvPr>
            <p:ph type="body" sz="quarter" idx="16"/>
            <p:custDataLst>
              <p:tags r:id="rId3"/>
            </p:custDataLst>
          </p:nvPr>
        </p:nvSpPr>
        <p:spPr>
          <a:xfrm>
            <a:off x="8385139" y="3053517"/>
            <a:ext cx="3657600" cy="2819931"/>
          </a:xfrm>
        </p:spPr>
        <p:txBody>
          <a:bodyPr>
            <a:normAutofit/>
          </a:bodyPr>
          <a:lstStyle>
            <a:lvl1pPr>
              <a:defRPr sz="2667">
                <a:latin typeface="Franklin Gothic Book" panose="020B0503020102020204" pitchFamily="34" charset="0"/>
              </a:defRPr>
            </a:lvl1pPr>
            <a:lvl2pPr marL="990551" indent="-380982">
              <a:buFont typeface="Courier New" panose="02070309020205020404" pitchFamily="49" charset="0"/>
              <a:buChar char="o"/>
              <a:defRPr sz="2400">
                <a:latin typeface="Franklin Gothic Book" panose="020B0503020102020204" pitchFamily="34" charset="0"/>
              </a:defRPr>
            </a:lvl2pPr>
            <a:lvl3pPr marL="1523923" indent="-304784">
              <a:buFont typeface="Courier New" panose="02070309020205020404" pitchFamily="49" charset="0"/>
              <a:buChar char="o"/>
              <a:defRPr sz="2133">
                <a:latin typeface="Franklin Gothic Book" panose="020B0503020102020204" pitchFamily="34" charset="0"/>
              </a:defRPr>
            </a:lvl3pPr>
          </a:lstStyle>
          <a:p>
            <a:pPr lvl="0"/>
            <a:r>
              <a:rPr lang="en-US"/>
              <a:t>Edit Master text styles</a:t>
            </a:r>
          </a:p>
          <a:p>
            <a:pPr lvl="1"/>
            <a:r>
              <a:rPr lang="en-US"/>
              <a:t>Second level</a:t>
            </a:r>
          </a:p>
          <a:p>
            <a:pPr lvl="2"/>
            <a:r>
              <a:rPr lang="en-US"/>
              <a:t>Third level</a:t>
            </a:r>
          </a:p>
        </p:txBody>
      </p:sp>
      <p:sp>
        <p:nvSpPr>
          <p:cNvPr id="22" name="Text Placeholder 9"/>
          <p:cNvSpPr>
            <a:spLocks noGrp="1" noChangeAspect="1"/>
          </p:cNvSpPr>
          <p:nvPr>
            <p:ph type="body" sz="quarter" idx="17"/>
          </p:nvPr>
        </p:nvSpPr>
        <p:spPr>
          <a:xfrm>
            <a:off x="463994" y="2296811"/>
            <a:ext cx="3060700" cy="673100"/>
          </a:xfrm>
          <a:solidFill>
            <a:schemeClr val="accent1"/>
          </a:solidFill>
        </p:spPr>
        <p:txBody>
          <a:bodyPr>
            <a:noAutofit/>
          </a:bodyPr>
          <a:lstStyle>
            <a:lvl1pPr marL="0" indent="0" algn="ctr">
              <a:buNone/>
              <a:defRPr sz="2667" b="1">
                <a:solidFill>
                  <a:schemeClr val="bg1"/>
                </a:solidFill>
                <a:latin typeface="Franklin Gothic Book" panose="020B0503020102020204" pitchFamily="34" charset="0"/>
              </a:defRPr>
            </a:lvl1pPr>
            <a:lvl5pPr marL="2438278" indent="0">
              <a:buNone/>
              <a:defRPr/>
            </a:lvl5pPr>
          </a:lstStyle>
          <a:p>
            <a:pPr lvl="0"/>
            <a:r>
              <a:rPr lang="en-US"/>
              <a:t>Edit Master text styles</a:t>
            </a:r>
          </a:p>
        </p:txBody>
      </p:sp>
      <p:sp>
        <p:nvSpPr>
          <p:cNvPr id="23" name="Text Placeholder 9"/>
          <p:cNvSpPr>
            <a:spLocks noGrp="1" noChangeAspect="1"/>
          </p:cNvSpPr>
          <p:nvPr>
            <p:ph type="body" sz="quarter" idx="18"/>
          </p:nvPr>
        </p:nvSpPr>
        <p:spPr>
          <a:xfrm>
            <a:off x="4597839" y="2296371"/>
            <a:ext cx="3060700" cy="673100"/>
          </a:xfrm>
          <a:solidFill>
            <a:schemeClr val="accent2"/>
          </a:solidFill>
        </p:spPr>
        <p:txBody>
          <a:bodyPr>
            <a:noAutofit/>
          </a:bodyPr>
          <a:lstStyle>
            <a:lvl1pPr marL="0" indent="0" algn="ctr">
              <a:buNone/>
              <a:defRPr sz="2667" b="1">
                <a:solidFill>
                  <a:schemeClr val="bg1"/>
                </a:solidFill>
                <a:latin typeface="Franklin Gothic Book" panose="020B0503020102020204" pitchFamily="34" charset="0"/>
              </a:defRPr>
            </a:lvl1pPr>
            <a:lvl5pPr marL="2438278" indent="0">
              <a:buNone/>
              <a:defRPr/>
            </a:lvl5pPr>
          </a:lstStyle>
          <a:p>
            <a:pPr lvl="0"/>
            <a:r>
              <a:rPr lang="en-US"/>
              <a:t>Edit Master text styles</a:t>
            </a:r>
          </a:p>
        </p:txBody>
      </p:sp>
      <p:sp>
        <p:nvSpPr>
          <p:cNvPr id="24" name="Text Placeholder 9"/>
          <p:cNvSpPr>
            <a:spLocks noGrp="1" noChangeAspect="1"/>
          </p:cNvSpPr>
          <p:nvPr>
            <p:ph type="body" sz="quarter" idx="19"/>
          </p:nvPr>
        </p:nvSpPr>
        <p:spPr>
          <a:xfrm>
            <a:off x="8683591" y="2296370"/>
            <a:ext cx="3060700" cy="673100"/>
          </a:xfrm>
          <a:solidFill>
            <a:schemeClr val="accent4"/>
          </a:solidFill>
        </p:spPr>
        <p:txBody>
          <a:bodyPr>
            <a:noAutofit/>
          </a:bodyPr>
          <a:lstStyle>
            <a:lvl1pPr marL="0" indent="0" algn="ctr">
              <a:buNone/>
              <a:defRPr sz="2667" b="1">
                <a:solidFill>
                  <a:schemeClr val="bg1"/>
                </a:solidFill>
                <a:latin typeface="Franklin Gothic Book" panose="020B0503020102020204" pitchFamily="34" charset="0"/>
              </a:defRPr>
            </a:lvl1pPr>
            <a:lvl5pPr marL="2438278" indent="0">
              <a:buNone/>
              <a:defRPr/>
            </a:lvl5pPr>
          </a:lstStyle>
          <a:p>
            <a:pPr lvl="0"/>
            <a:r>
              <a:rPr lang="en-US"/>
              <a:t>Edit Master text styles</a:t>
            </a:r>
          </a:p>
        </p:txBody>
      </p:sp>
      <p:sp>
        <p:nvSpPr>
          <p:cNvPr id="16" name="Rectangle 15"/>
          <p:cNvSpPr/>
          <p:nvPr userDrawn="1"/>
        </p:nvSpPr>
        <p:spPr>
          <a:xfrm>
            <a:off x="0" y="5970229"/>
            <a:ext cx="12192000" cy="88777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7" name="Picture 16">
            <a:extLst>
              <a:ext uri="{FF2B5EF4-FFF2-40B4-BE49-F238E27FC236}">
                <a16:creationId xmlns:a16="http://schemas.microsoft.com/office/drawing/2014/main" id="{54D83C2E-D359-41EE-8A64-F864AD5130E8}"/>
              </a:ext>
            </a:extLst>
          </p:cNvPr>
          <p:cNvPicPr>
            <a:picLocks noChangeAspect="1"/>
          </p:cNvPicPr>
          <p:nvPr userDrawn="1"/>
        </p:nvPicPr>
        <p:blipFill rotWithShape="1">
          <a:blip r:embed="rId7"/>
          <a:srcRect l="16072" r="28789"/>
          <a:stretch/>
        </p:blipFill>
        <p:spPr>
          <a:xfrm>
            <a:off x="6341533" y="6134745"/>
            <a:ext cx="5372608" cy="530675"/>
          </a:xfrm>
          <a:prstGeom prst="rect">
            <a:avLst/>
          </a:prstGeom>
        </p:spPr>
      </p:pic>
      <p:pic>
        <p:nvPicPr>
          <p:cNvPr id="26" name="Picture 25" descr="Text&#10;&#10;Description automatically generated">
            <a:extLst>
              <a:ext uri="{FF2B5EF4-FFF2-40B4-BE49-F238E27FC236}">
                <a16:creationId xmlns:a16="http://schemas.microsoft.com/office/drawing/2014/main" id="{E40B8DD4-E751-40DC-86FD-557FBF206F4F}"/>
              </a:ext>
            </a:extLst>
          </p:cNvPr>
          <p:cNvPicPr>
            <a:picLocks noChangeAspect="1"/>
          </p:cNvPicPr>
          <p:nvPr userDrawn="1"/>
        </p:nvPicPr>
        <p:blipFill>
          <a:blip r:embed="rId8"/>
          <a:stretch>
            <a:fillRect/>
          </a:stretch>
        </p:blipFill>
        <p:spPr>
          <a:xfrm>
            <a:off x="477859" y="6149162"/>
            <a:ext cx="1838019" cy="501844"/>
          </a:xfrm>
          <a:prstGeom prst="rect">
            <a:avLst/>
          </a:prstGeom>
        </p:spPr>
      </p:pic>
    </p:spTree>
    <p:extLst>
      <p:ext uri="{BB962C8B-B14F-4D97-AF65-F5344CB8AC3E}">
        <p14:creationId xmlns:p14="http://schemas.microsoft.com/office/powerpoint/2010/main" val="35111878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9_Transition Slide and Content_b">
    <p:spTree>
      <p:nvGrpSpPr>
        <p:cNvPr id="1" name=""/>
        <p:cNvGrpSpPr/>
        <p:nvPr/>
      </p:nvGrpSpPr>
      <p:grpSpPr>
        <a:xfrm>
          <a:off x="0" y="0"/>
          <a:ext cx="0" cy="0"/>
          <a:chOff x="0" y="0"/>
          <a:chExt cx="0" cy="0"/>
        </a:xfrm>
      </p:grpSpPr>
      <p:sp>
        <p:nvSpPr>
          <p:cNvPr id="12" name="Content Placeholder 3"/>
          <p:cNvSpPr>
            <a:spLocks noGrp="1"/>
          </p:cNvSpPr>
          <p:nvPr>
            <p:ph sz="quarter" idx="17"/>
          </p:nvPr>
        </p:nvSpPr>
        <p:spPr>
          <a:xfrm>
            <a:off x="7146375" y="278851"/>
            <a:ext cx="4567767" cy="5113400"/>
          </a:xfrm>
        </p:spPr>
        <p:txBody>
          <a:bodyPr>
            <a:normAutofit/>
          </a:bodyPr>
          <a:lstStyle>
            <a:lvl1pPr>
              <a:defRPr sz="3200">
                <a:latin typeface="Franklin Gothic Book" panose="020B0503020102020204" pitchFamily="34" charset="0"/>
              </a:defRPr>
            </a:lvl1pPr>
            <a:lvl2pPr marL="990551" indent="-380982">
              <a:buFont typeface="Arial" panose="020B0604020202020204" pitchFamily="34" charset="0"/>
              <a:buChar char="•"/>
              <a:defRPr sz="2400"/>
            </a:lvl2pPr>
          </a:lstStyle>
          <a:p>
            <a:pPr lvl="0"/>
            <a:r>
              <a:rPr lang="en-US"/>
              <a:t>Edit Master text styles</a:t>
            </a:r>
          </a:p>
          <a:p>
            <a:pPr lvl="1"/>
            <a:r>
              <a:rPr lang="en-US"/>
              <a:t>Second level</a:t>
            </a:r>
          </a:p>
        </p:txBody>
      </p:sp>
      <p:pic>
        <p:nvPicPr>
          <p:cNvPr id="13" name="Picture 12" descr="ThinShearedLines_BlueRedYellow.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flipV="1">
            <a:off x="817033" y="3826478"/>
            <a:ext cx="6096000" cy="105977"/>
          </a:xfrm>
          <a:prstGeom prst="rect">
            <a:avLst/>
          </a:prstGeom>
        </p:spPr>
      </p:pic>
      <p:sp>
        <p:nvSpPr>
          <p:cNvPr id="19" name="Title 1"/>
          <p:cNvSpPr>
            <a:spLocks noGrp="1" noChangeAspect="1"/>
          </p:cNvSpPr>
          <p:nvPr>
            <p:ph type="title"/>
          </p:nvPr>
        </p:nvSpPr>
        <p:spPr>
          <a:xfrm>
            <a:off x="817033" y="2214881"/>
            <a:ext cx="6096000" cy="1537823"/>
          </a:xfrm>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20" name="Text Placeholder 1"/>
          <p:cNvSpPr>
            <a:spLocks noGrp="1" noChangeAspect="1"/>
          </p:cNvSpPr>
          <p:nvPr>
            <p:ph type="body" sz="quarter" idx="14"/>
            <p:custDataLst>
              <p:tags r:id="rId1"/>
            </p:custDataLst>
          </p:nvPr>
        </p:nvSpPr>
        <p:spPr>
          <a:xfrm>
            <a:off x="817033" y="4650614"/>
            <a:ext cx="6096000" cy="741637"/>
          </a:xfrm>
        </p:spPr>
        <p:txBody>
          <a:bodyPr>
            <a:normAutofit/>
          </a:bodyPr>
          <a:lstStyle>
            <a:lvl1pPr marL="0" indent="0">
              <a:buNone/>
              <a:defRPr sz="2933">
                <a:latin typeface="Franklin Gothic Book" panose="020B0503020102020204" pitchFamily="34" charset="0"/>
              </a:defRPr>
            </a:lvl1pPr>
          </a:lstStyle>
          <a:p>
            <a:endParaRPr lang="en-US"/>
          </a:p>
        </p:txBody>
      </p:sp>
      <p:sp>
        <p:nvSpPr>
          <p:cNvPr id="21" name="Text Placeholder 2"/>
          <p:cNvSpPr>
            <a:spLocks noGrp="1" noChangeAspect="1"/>
          </p:cNvSpPr>
          <p:nvPr>
            <p:ph type="body" sz="quarter" idx="16"/>
            <p:custDataLst>
              <p:tags r:id="rId2"/>
            </p:custDataLst>
          </p:nvPr>
        </p:nvSpPr>
        <p:spPr>
          <a:xfrm>
            <a:off x="817033" y="4011322"/>
            <a:ext cx="6096000" cy="565517"/>
          </a:xfrm>
        </p:spPr>
        <p:txBody>
          <a:bodyPr>
            <a:noAutofit/>
          </a:bodyPr>
          <a:lstStyle>
            <a:lvl1pPr marL="0" indent="0">
              <a:buNone/>
              <a:defRPr sz="2933">
                <a:latin typeface="Franklin Gothic Book" panose="020B0503020102020204" pitchFamily="34" charset="0"/>
              </a:defRPr>
            </a:lvl1pPr>
          </a:lstStyle>
          <a:p>
            <a:endParaRPr lang="en-US"/>
          </a:p>
        </p:txBody>
      </p:sp>
      <p:sp>
        <p:nvSpPr>
          <p:cNvPr id="10" name="Rectangle 9"/>
          <p:cNvSpPr/>
          <p:nvPr userDrawn="1"/>
        </p:nvSpPr>
        <p:spPr>
          <a:xfrm>
            <a:off x="0" y="5970229"/>
            <a:ext cx="12192000" cy="88777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1" name="Picture 10">
            <a:extLst>
              <a:ext uri="{FF2B5EF4-FFF2-40B4-BE49-F238E27FC236}">
                <a16:creationId xmlns:a16="http://schemas.microsoft.com/office/drawing/2014/main" id="{EF63C850-A9DD-488B-9CB6-477FD27EE526}"/>
              </a:ext>
            </a:extLst>
          </p:cNvPr>
          <p:cNvPicPr>
            <a:picLocks noChangeAspect="1"/>
          </p:cNvPicPr>
          <p:nvPr userDrawn="1"/>
        </p:nvPicPr>
        <p:blipFill rotWithShape="1">
          <a:blip r:embed="rId5"/>
          <a:srcRect l="16072" r="28789"/>
          <a:stretch/>
        </p:blipFill>
        <p:spPr>
          <a:xfrm>
            <a:off x="6341533" y="6134745"/>
            <a:ext cx="5372608" cy="530675"/>
          </a:xfrm>
          <a:prstGeom prst="rect">
            <a:avLst/>
          </a:prstGeom>
        </p:spPr>
      </p:pic>
      <p:pic>
        <p:nvPicPr>
          <p:cNvPr id="16" name="Picture 15" descr="Text&#10;&#10;Description automatically generated">
            <a:extLst>
              <a:ext uri="{FF2B5EF4-FFF2-40B4-BE49-F238E27FC236}">
                <a16:creationId xmlns:a16="http://schemas.microsoft.com/office/drawing/2014/main" id="{9448C391-D41B-4DFE-A8EE-26362D615844}"/>
              </a:ext>
            </a:extLst>
          </p:cNvPr>
          <p:cNvPicPr>
            <a:picLocks noChangeAspect="1"/>
          </p:cNvPicPr>
          <p:nvPr userDrawn="1"/>
        </p:nvPicPr>
        <p:blipFill>
          <a:blip r:embed="rId6"/>
          <a:stretch>
            <a:fillRect/>
          </a:stretch>
        </p:blipFill>
        <p:spPr>
          <a:xfrm>
            <a:off x="477859" y="6149162"/>
            <a:ext cx="1838019" cy="501844"/>
          </a:xfrm>
          <a:prstGeom prst="rect">
            <a:avLst/>
          </a:prstGeom>
        </p:spPr>
      </p:pic>
    </p:spTree>
    <p:extLst>
      <p:ext uri="{BB962C8B-B14F-4D97-AF65-F5344CB8AC3E}">
        <p14:creationId xmlns:p14="http://schemas.microsoft.com/office/powerpoint/2010/main" val="15365155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ingle Content Banner_b">
    <p:spTree>
      <p:nvGrpSpPr>
        <p:cNvPr id="1" name=""/>
        <p:cNvGrpSpPr/>
        <p:nvPr/>
      </p:nvGrpSpPr>
      <p:grpSpPr>
        <a:xfrm>
          <a:off x="0" y="0"/>
          <a:ext cx="0" cy="0"/>
          <a:chOff x="0" y="0"/>
          <a:chExt cx="0" cy="0"/>
        </a:xfrm>
      </p:grpSpPr>
      <p:sp>
        <p:nvSpPr>
          <p:cNvPr id="8" name="Rectangle 7"/>
          <p:cNvSpPr/>
          <p:nvPr userDrawn="1"/>
        </p:nvSpPr>
        <p:spPr>
          <a:xfrm>
            <a:off x="0" y="5970229"/>
            <a:ext cx="12192000" cy="88777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7" name="Picture 16" descr="HeaderBar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490848"/>
            <a:ext cx="12192000" cy="585216"/>
          </a:xfrm>
          <a:prstGeom prst="rect">
            <a:avLst/>
          </a:prstGeom>
        </p:spPr>
      </p:pic>
      <p:sp>
        <p:nvSpPr>
          <p:cNvPr id="14" name="Title 1"/>
          <p:cNvSpPr>
            <a:spLocks noGrp="1"/>
          </p:cNvSpPr>
          <p:nvPr>
            <p:ph type="title"/>
          </p:nvPr>
        </p:nvSpPr>
        <p:spPr>
          <a:xfrm>
            <a:off x="1651000" y="1064683"/>
            <a:ext cx="9144000" cy="1290639"/>
          </a:xfrm>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15" name="Content Placeholder 2"/>
          <p:cNvSpPr>
            <a:spLocks noGrp="1"/>
          </p:cNvSpPr>
          <p:nvPr>
            <p:ph idx="1"/>
          </p:nvPr>
        </p:nvSpPr>
        <p:spPr>
          <a:xfrm>
            <a:off x="1651000" y="2613959"/>
            <a:ext cx="9144000" cy="2241551"/>
          </a:xfrm>
        </p:spPr>
        <p:txBody>
          <a:bodyPr>
            <a:normAutofit/>
          </a:bodyPr>
          <a:lstStyle>
            <a:lvl1pPr marL="0" indent="0">
              <a:spcBef>
                <a:spcPts val="0"/>
              </a:spcBef>
              <a:buFontTx/>
              <a:buNone/>
              <a:defRPr sz="2933" baseline="0">
                <a:solidFill>
                  <a:schemeClr val="tx1"/>
                </a:solidFill>
                <a:latin typeface="Franklin Gothic Book"/>
              </a:defRPr>
            </a:lvl1pPr>
            <a:lvl2pPr marL="0" indent="0">
              <a:spcBef>
                <a:spcPts val="0"/>
              </a:spcBef>
              <a:buFontTx/>
              <a:buNone/>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0" indent="0">
              <a:spcBef>
                <a:spcPts val="0"/>
              </a:spcBef>
              <a:buFontTx/>
              <a:buNone/>
              <a:defRPr sz="2933"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pic>
        <p:nvPicPr>
          <p:cNvPr id="9" name="Picture 8">
            <a:extLst>
              <a:ext uri="{FF2B5EF4-FFF2-40B4-BE49-F238E27FC236}">
                <a16:creationId xmlns:a16="http://schemas.microsoft.com/office/drawing/2014/main" id="{F9102496-3B27-4F9E-86E4-7AD758250D84}"/>
              </a:ext>
            </a:extLst>
          </p:cNvPr>
          <p:cNvPicPr>
            <a:picLocks noChangeAspect="1"/>
          </p:cNvPicPr>
          <p:nvPr userDrawn="1"/>
        </p:nvPicPr>
        <p:blipFill rotWithShape="1">
          <a:blip r:embed="rId3"/>
          <a:srcRect l="16072" r="28789"/>
          <a:stretch/>
        </p:blipFill>
        <p:spPr>
          <a:xfrm>
            <a:off x="6341533" y="6134745"/>
            <a:ext cx="5372608" cy="530675"/>
          </a:xfrm>
          <a:prstGeom prst="rect">
            <a:avLst/>
          </a:prstGeom>
        </p:spPr>
      </p:pic>
      <p:pic>
        <p:nvPicPr>
          <p:cNvPr id="12" name="Picture 11" descr="Text&#10;&#10;Description automatically generated">
            <a:extLst>
              <a:ext uri="{FF2B5EF4-FFF2-40B4-BE49-F238E27FC236}">
                <a16:creationId xmlns:a16="http://schemas.microsoft.com/office/drawing/2014/main" id="{82B7AFC3-3179-44C5-AC92-9EBFE96F9E31}"/>
              </a:ext>
            </a:extLst>
          </p:cNvPr>
          <p:cNvPicPr>
            <a:picLocks noChangeAspect="1"/>
          </p:cNvPicPr>
          <p:nvPr userDrawn="1"/>
        </p:nvPicPr>
        <p:blipFill>
          <a:blip r:embed="rId4"/>
          <a:stretch>
            <a:fillRect/>
          </a:stretch>
        </p:blipFill>
        <p:spPr>
          <a:xfrm>
            <a:off x="477859" y="6149162"/>
            <a:ext cx="1838019" cy="501844"/>
          </a:xfrm>
          <a:prstGeom prst="rect">
            <a:avLst/>
          </a:prstGeom>
        </p:spPr>
      </p:pic>
    </p:spTree>
    <p:extLst>
      <p:ext uri="{BB962C8B-B14F-4D97-AF65-F5344CB8AC3E}">
        <p14:creationId xmlns:p14="http://schemas.microsoft.com/office/powerpoint/2010/main" val="13154506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11_Single Content_b">
    <p:spTree>
      <p:nvGrpSpPr>
        <p:cNvPr id="1" name=""/>
        <p:cNvGrpSpPr/>
        <p:nvPr/>
      </p:nvGrpSpPr>
      <p:grpSpPr>
        <a:xfrm>
          <a:off x="0" y="0"/>
          <a:ext cx="0" cy="0"/>
          <a:chOff x="0" y="0"/>
          <a:chExt cx="0" cy="0"/>
        </a:xfrm>
      </p:grpSpPr>
      <p:sp>
        <p:nvSpPr>
          <p:cNvPr id="2" name="Title 1"/>
          <p:cNvSpPr>
            <a:spLocks noGrp="1"/>
          </p:cNvSpPr>
          <p:nvPr>
            <p:ph type="title"/>
          </p:nvPr>
        </p:nvSpPr>
        <p:spPr>
          <a:xfrm>
            <a:off x="1651000" y="1064683"/>
            <a:ext cx="9144000" cy="1290639"/>
          </a:xfrm>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3" name="Content Placeholder 2"/>
          <p:cNvSpPr>
            <a:spLocks noGrp="1"/>
          </p:cNvSpPr>
          <p:nvPr>
            <p:ph idx="1"/>
          </p:nvPr>
        </p:nvSpPr>
        <p:spPr>
          <a:xfrm>
            <a:off x="1651000" y="2613959"/>
            <a:ext cx="9144000" cy="2241551"/>
          </a:xfrm>
        </p:spPr>
        <p:txBody>
          <a:bodyPr>
            <a:normAutofit/>
          </a:bodyPr>
          <a:lstStyle>
            <a:lvl1pPr marL="0" indent="0">
              <a:spcBef>
                <a:spcPts val="0"/>
              </a:spcBef>
              <a:buFontTx/>
              <a:buNone/>
              <a:defRPr sz="2933" baseline="0">
                <a:solidFill>
                  <a:schemeClr val="tx1"/>
                </a:solidFill>
                <a:latin typeface="Franklin Gothic Book"/>
              </a:defRPr>
            </a:lvl1pPr>
            <a:lvl2pPr marL="0" indent="0">
              <a:spcBef>
                <a:spcPts val="0"/>
              </a:spcBef>
              <a:buFontTx/>
              <a:buNone/>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0" indent="0">
              <a:spcBef>
                <a:spcPts val="0"/>
              </a:spcBef>
              <a:buFontTx/>
              <a:buNone/>
              <a:defRPr sz="2933"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sp>
        <p:nvSpPr>
          <p:cNvPr id="7" name="Rectangle 6"/>
          <p:cNvSpPr/>
          <p:nvPr userDrawn="1"/>
        </p:nvSpPr>
        <p:spPr>
          <a:xfrm>
            <a:off x="0" y="5970229"/>
            <a:ext cx="12192000" cy="88777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8" name="Picture 7">
            <a:extLst>
              <a:ext uri="{FF2B5EF4-FFF2-40B4-BE49-F238E27FC236}">
                <a16:creationId xmlns:a16="http://schemas.microsoft.com/office/drawing/2014/main" id="{0A93DCE9-9EBA-4D95-B09B-4DE424D46B31}"/>
              </a:ext>
            </a:extLst>
          </p:cNvPr>
          <p:cNvPicPr>
            <a:picLocks noChangeAspect="1"/>
          </p:cNvPicPr>
          <p:nvPr userDrawn="1"/>
        </p:nvPicPr>
        <p:blipFill rotWithShape="1">
          <a:blip r:embed="rId2"/>
          <a:srcRect l="16072" r="28789"/>
          <a:stretch/>
        </p:blipFill>
        <p:spPr>
          <a:xfrm>
            <a:off x="6341533" y="6134745"/>
            <a:ext cx="5372608" cy="530675"/>
          </a:xfrm>
          <a:prstGeom prst="rect">
            <a:avLst/>
          </a:prstGeom>
        </p:spPr>
      </p:pic>
      <p:pic>
        <p:nvPicPr>
          <p:cNvPr id="11" name="Picture 10" descr="Text&#10;&#10;Description automatically generated">
            <a:extLst>
              <a:ext uri="{FF2B5EF4-FFF2-40B4-BE49-F238E27FC236}">
                <a16:creationId xmlns:a16="http://schemas.microsoft.com/office/drawing/2014/main" id="{80824313-1351-46F6-B59C-9F94FC95BE1A}"/>
              </a:ext>
            </a:extLst>
          </p:cNvPr>
          <p:cNvPicPr>
            <a:picLocks noChangeAspect="1"/>
          </p:cNvPicPr>
          <p:nvPr userDrawn="1"/>
        </p:nvPicPr>
        <p:blipFill>
          <a:blip r:embed="rId3"/>
          <a:stretch>
            <a:fillRect/>
          </a:stretch>
        </p:blipFill>
        <p:spPr>
          <a:xfrm>
            <a:off x="477859" y="6149162"/>
            <a:ext cx="1838019" cy="501844"/>
          </a:xfrm>
          <a:prstGeom prst="rect">
            <a:avLst/>
          </a:prstGeom>
        </p:spPr>
      </p:pic>
    </p:spTree>
    <p:extLst>
      <p:ext uri="{BB962C8B-B14F-4D97-AF65-F5344CB8AC3E}">
        <p14:creationId xmlns:p14="http://schemas.microsoft.com/office/powerpoint/2010/main" val="34851804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2_Double Content_b">
    <p:spTree>
      <p:nvGrpSpPr>
        <p:cNvPr id="1" name=""/>
        <p:cNvGrpSpPr/>
        <p:nvPr/>
      </p:nvGrpSpPr>
      <p:grpSpPr>
        <a:xfrm>
          <a:off x="0" y="0"/>
          <a:ext cx="0" cy="0"/>
          <a:chOff x="0" y="0"/>
          <a:chExt cx="0" cy="0"/>
        </a:xfrm>
      </p:grpSpPr>
      <p:sp>
        <p:nvSpPr>
          <p:cNvPr id="16" name="Title 1"/>
          <p:cNvSpPr>
            <a:spLocks noGrp="1"/>
          </p:cNvSpPr>
          <p:nvPr>
            <p:ph type="title"/>
          </p:nvPr>
        </p:nvSpPr>
        <p:spPr>
          <a:xfrm>
            <a:off x="1524000" y="458410"/>
            <a:ext cx="9144000" cy="1085911"/>
          </a:xfrm>
        </p:spPr>
        <p:txBody>
          <a:bodyPr>
            <a:normAutofit/>
          </a:bodyPr>
          <a:lstStyle>
            <a:lvl1pPr algn="ctr">
              <a:defRPr sz="5067" baseline="0">
                <a:solidFill>
                  <a:srgbClr val="D9531E"/>
                </a:solidFill>
                <a:latin typeface="Franklin Gothic Book"/>
              </a:defRPr>
            </a:lvl1pPr>
          </a:lstStyle>
          <a:p>
            <a:r>
              <a:rPr lang="en-US"/>
              <a:t>Click to edit Master title style</a:t>
            </a:r>
          </a:p>
        </p:txBody>
      </p:sp>
      <p:sp>
        <p:nvSpPr>
          <p:cNvPr id="18" name="Content Placeholder 2"/>
          <p:cNvSpPr>
            <a:spLocks noGrp="1"/>
          </p:cNvSpPr>
          <p:nvPr>
            <p:ph idx="10"/>
          </p:nvPr>
        </p:nvSpPr>
        <p:spPr>
          <a:xfrm>
            <a:off x="1524000" y="1663911"/>
            <a:ext cx="4453467" cy="3913931"/>
          </a:xfrm>
        </p:spPr>
        <p:txBody>
          <a:bodyPr>
            <a:normAutofit/>
          </a:bodyPr>
          <a:lstStyle>
            <a:lvl1pPr marL="0" indent="0">
              <a:spcBef>
                <a:spcPts val="0"/>
              </a:spcBef>
              <a:buFontTx/>
              <a:buNone/>
              <a:defRPr sz="2933" baseline="0">
                <a:solidFill>
                  <a:schemeClr val="tx1"/>
                </a:solidFill>
                <a:latin typeface="Franklin Gothic Book"/>
              </a:defRPr>
            </a:lvl1pPr>
            <a:lvl2pPr marL="0" indent="0">
              <a:spcBef>
                <a:spcPts val="0"/>
              </a:spcBef>
              <a:buFontTx/>
              <a:buNone/>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0" indent="0">
              <a:spcBef>
                <a:spcPts val="0"/>
              </a:spcBef>
              <a:buFontTx/>
              <a:buNone/>
              <a:defRPr sz="2933"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sp>
        <p:nvSpPr>
          <p:cNvPr id="19" name="Content Placeholder 2"/>
          <p:cNvSpPr>
            <a:spLocks noGrp="1"/>
          </p:cNvSpPr>
          <p:nvPr>
            <p:ph idx="11"/>
          </p:nvPr>
        </p:nvSpPr>
        <p:spPr>
          <a:xfrm>
            <a:off x="6214533" y="1663911"/>
            <a:ext cx="4453467" cy="3913931"/>
          </a:xfrm>
        </p:spPr>
        <p:txBody>
          <a:bodyPr>
            <a:normAutofit/>
          </a:bodyPr>
          <a:lstStyle>
            <a:lvl1pPr marL="0" indent="0">
              <a:spcBef>
                <a:spcPts val="0"/>
              </a:spcBef>
              <a:buFontTx/>
              <a:buNone/>
              <a:defRPr sz="2933" baseline="0">
                <a:solidFill>
                  <a:schemeClr val="tx1"/>
                </a:solidFill>
                <a:latin typeface="Franklin Gothic Book"/>
              </a:defRPr>
            </a:lvl1pPr>
            <a:lvl2pPr marL="0" indent="0">
              <a:spcBef>
                <a:spcPts val="0"/>
              </a:spcBef>
              <a:buFontTx/>
              <a:buNone/>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0" indent="0">
              <a:spcBef>
                <a:spcPts val="0"/>
              </a:spcBef>
              <a:buFontTx/>
              <a:buNone/>
              <a:defRPr sz="2933"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pic>
        <p:nvPicPr>
          <p:cNvPr id="20" name="Picture 19"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933"/>
            <a:ext cx="12192000" cy="105664"/>
          </a:xfrm>
          <a:prstGeom prst="rect">
            <a:avLst/>
          </a:prstGeom>
        </p:spPr>
      </p:pic>
      <p:sp>
        <p:nvSpPr>
          <p:cNvPr id="9" name="Rectangle 8"/>
          <p:cNvSpPr/>
          <p:nvPr userDrawn="1"/>
        </p:nvSpPr>
        <p:spPr>
          <a:xfrm>
            <a:off x="0" y="5970229"/>
            <a:ext cx="12192000" cy="88777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a:extLst>
              <a:ext uri="{FF2B5EF4-FFF2-40B4-BE49-F238E27FC236}">
                <a16:creationId xmlns:a16="http://schemas.microsoft.com/office/drawing/2014/main" id="{D6306C15-36C5-4929-B96E-CBACAF50067C}"/>
              </a:ext>
            </a:extLst>
          </p:cNvPr>
          <p:cNvPicPr>
            <a:picLocks noChangeAspect="1"/>
          </p:cNvPicPr>
          <p:nvPr userDrawn="1"/>
        </p:nvPicPr>
        <p:blipFill rotWithShape="1">
          <a:blip r:embed="rId3"/>
          <a:srcRect l="16072" r="28789"/>
          <a:stretch/>
        </p:blipFill>
        <p:spPr>
          <a:xfrm>
            <a:off x="6341533" y="6134745"/>
            <a:ext cx="5372608" cy="530675"/>
          </a:xfrm>
          <a:prstGeom prst="rect">
            <a:avLst/>
          </a:prstGeom>
        </p:spPr>
      </p:pic>
      <p:pic>
        <p:nvPicPr>
          <p:cNvPr id="13" name="Picture 12" descr="Text&#10;&#10;Description automatically generated">
            <a:extLst>
              <a:ext uri="{FF2B5EF4-FFF2-40B4-BE49-F238E27FC236}">
                <a16:creationId xmlns:a16="http://schemas.microsoft.com/office/drawing/2014/main" id="{D25E26BC-825D-45CA-B0CF-0EDFB6A3A6CE}"/>
              </a:ext>
            </a:extLst>
          </p:cNvPr>
          <p:cNvPicPr>
            <a:picLocks noChangeAspect="1"/>
          </p:cNvPicPr>
          <p:nvPr userDrawn="1"/>
        </p:nvPicPr>
        <p:blipFill>
          <a:blip r:embed="rId4"/>
          <a:stretch>
            <a:fillRect/>
          </a:stretch>
        </p:blipFill>
        <p:spPr>
          <a:xfrm>
            <a:off x="477859" y="6149162"/>
            <a:ext cx="1838019" cy="501844"/>
          </a:xfrm>
          <a:prstGeom prst="rect">
            <a:avLst/>
          </a:prstGeom>
        </p:spPr>
      </p:pic>
    </p:spTree>
    <p:extLst>
      <p:ext uri="{BB962C8B-B14F-4D97-AF65-F5344CB8AC3E}">
        <p14:creationId xmlns:p14="http://schemas.microsoft.com/office/powerpoint/2010/main" val="28628517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1 - GREEN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7FD67F68-27BB-294D-97E5-36BC83CB06D1}"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1819205A-F0EA-071B-38E5-FA0EA2DC242F}"/>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marL="1371600" indent="0">
              <a:buClr>
                <a:schemeClr val="bg2">
                  <a:lumMod val="75000"/>
                </a:schemeClr>
              </a:buClr>
              <a:buNone/>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p>
        </p:txBody>
      </p:sp>
    </p:spTree>
    <p:extLst>
      <p:ext uri="{BB962C8B-B14F-4D97-AF65-F5344CB8AC3E}">
        <p14:creationId xmlns:p14="http://schemas.microsoft.com/office/powerpoint/2010/main" val="33307705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01_Title Slide_c">
    <p:spTree>
      <p:nvGrpSpPr>
        <p:cNvPr id="1" name=""/>
        <p:cNvGrpSpPr/>
        <p:nvPr/>
      </p:nvGrpSpPr>
      <p:grpSpPr>
        <a:xfrm>
          <a:off x="0" y="0"/>
          <a:ext cx="0" cy="0"/>
          <a:chOff x="0" y="0"/>
          <a:chExt cx="0" cy="0"/>
        </a:xfrm>
      </p:grpSpPr>
      <p:sp>
        <p:nvSpPr>
          <p:cNvPr id="10" name="Rectangle 9"/>
          <p:cNvSpPr/>
          <p:nvPr userDrawn="1"/>
        </p:nvSpPr>
        <p:spPr>
          <a:xfrm>
            <a:off x="0" y="1"/>
            <a:ext cx="12192000" cy="5970231"/>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userDrawn="1"/>
        </p:nvSpPr>
        <p:spPr>
          <a:xfrm>
            <a:off x="0" y="5970229"/>
            <a:ext cx="12192000" cy="88777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ctrTitle"/>
          </p:nvPr>
        </p:nvSpPr>
        <p:spPr>
          <a:xfrm>
            <a:off x="1464062" y="1947337"/>
            <a:ext cx="9525673" cy="1549399"/>
          </a:xfrm>
        </p:spPr>
        <p:txBody>
          <a:bodyPr>
            <a:noAutofit/>
          </a:bodyPr>
          <a:lstStyle>
            <a:lvl1pPr algn="l">
              <a:defRPr sz="5867">
                <a:solidFill>
                  <a:schemeClr val="bg1"/>
                </a:solidFill>
                <a:latin typeface="Franklin Gothic Book"/>
              </a:defRPr>
            </a:lvl1pPr>
          </a:lstStyle>
          <a:p>
            <a:r>
              <a:rPr lang="en-US"/>
              <a:t>Click to edit Master title style</a:t>
            </a:r>
          </a:p>
        </p:txBody>
      </p:sp>
      <p:sp>
        <p:nvSpPr>
          <p:cNvPr id="3" name="Subtitle 2"/>
          <p:cNvSpPr>
            <a:spLocks noGrp="1"/>
          </p:cNvSpPr>
          <p:nvPr>
            <p:ph type="subTitle" idx="1"/>
          </p:nvPr>
        </p:nvSpPr>
        <p:spPr>
          <a:xfrm>
            <a:off x="1464061" y="3496735"/>
            <a:ext cx="8611275" cy="857251"/>
          </a:xfrm>
        </p:spPr>
        <p:txBody>
          <a:bodyPr>
            <a:normAutofit/>
          </a:bodyPr>
          <a:lstStyle>
            <a:lvl1pPr marL="0" indent="0" algn="l">
              <a:buNone/>
              <a:defRPr sz="2933">
                <a:solidFill>
                  <a:schemeClr val="bg1"/>
                </a:solidFill>
                <a:latin typeface="Franklin Gothic Book"/>
                <a:cs typeface="Franklin Gothic Book"/>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9" name="Parallelogram 8"/>
          <p:cNvSpPr/>
          <p:nvPr userDrawn="1"/>
        </p:nvSpPr>
        <p:spPr>
          <a:xfrm flipH="1">
            <a:off x="1464061" y="1648495"/>
            <a:ext cx="991272" cy="60959"/>
          </a:xfrm>
          <a:prstGeom prst="parallelogram">
            <a:avLst/>
          </a:prstGeom>
          <a:solidFill>
            <a:srgbClr val="9FA6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4" name="Picture 3" descr="ThinShearedLines_BlueYellowRe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74652"/>
            <a:ext cx="12192000" cy="922528"/>
          </a:xfrm>
          <a:prstGeom prst="rect">
            <a:avLst/>
          </a:prstGeom>
        </p:spPr>
      </p:pic>
      <p:pic>
        <p:nvPicPr>
          <p:cNvPr id="12" name="Picture 11">
            <a:extLst>
              <a:ext uri="{FF2B5EF4-FFF2-40B4-BE49-F238E27FC236}">
                <a16:creationId xmlns:a16="http://schemas.microsoft.com/office/drawing/2014/main" id="{F6419F69-9964-4AC3-B642-44ABE5C9D975}"/>
              </a:ext>
            </a:extLst>
          </p:cNvPr>
          <p:cNvPicPr>
            <a:picLocks noChangeAspect="1"/>
          </p:cNvPicPr>
          <p:nvPr userDrawn="1"/>
        </p:nvPicPr>
        <p:blipFill rotWithShape="1">
          <a:blip r:embed="rId3"/>
          <a:srcRect l="16072" r="28789"/>
          <a:stretch/>
        </p:blipFill>
        <p:spPr>
          <a:xfrm>
            <a:off x="6341533" y="6134745"/>
            <a:ext cx="5372608" cy="530675"/>
          </a:xfrm>
          <a:prstGeom prst="rect">
            <a:avLst/>
          </a:prstGeom>
        </p:spPr>
      </p:pic>
      <p:pic>
        <p:nvPicPr>
          <p:cNvPr id="13" name="Picture 12" descr="Text&#10;&#10;Description automatically generated">
            <a:extLst>
              <a:ext uri="{FF2B5EF4-FFF2-40B4-BE49-F238E27FC236}">
                <a16:creationId xmlns:a16="http://schemas.microsoft.com/office/drawing/2014/main" id="{5EF8A0C6-FF58-4F38-A2DA-6B899A1DC793}"/>
              </a:ext>
            </a:extLst>
          </p:cNvPr>
          <p:cNvPicPr>
            <a:picLocks noChangeAspect="1"/>
          </p:cNvPicPr>
          <p:nvPr userDrawn="1"/>
        </p:nvPicPr>
        <p:blipFill>
          <a:blip r:embed="rId4"/>
          <a:stretch>
            <a:fillRect/>
          </a:stretch>
        </p:blipFill>
        <p:spPr>
          <a:xfrm>
            <a:off x="477859" y="6149162"/>
            <a:ext cx="1838019" cy="501844"/>
          </a:xfrm>
          <a:prstGeom prst="rect">
            <a:avLst/>
          </a:prstGeom>
        </p:spPr>
      </p:pic>
    </p:spTree>
    <p:extLst>
      <p:ext uri="{BB962C8B-B14F-4D97-AF65-F5344CB8AC3E}">
        <p14:creationId xmlns:p14="http://schemas.microsoft.com/office/powerpoint/2010/main" val="3057766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02_Title Slide_c">
    <p:spTree>
      <p:nvGrpSpPr>
        <p:cNvPr id="1" name=""/>
        <p:cNvGrpSpPr/>
        <p:nvPr/>
      </p:nvGrpSpPr>
      <p:grpSpPr>
        <a:xfrm>
          <a:off x="0" y="0"/>
          <a:ext cx="0" cy="0"/>
          <a:chOff x="0" y="0"/>
          <a:chExt cx="0" cy="0"/>
        </a:xfrm>
      </p:grpSpPr>
      <p:sp>
        <p:nvSpPr>
          <p:cNvPr id="10" name="Rectangle 9"/>
          <p:cNvSpPr/>
          <p:nvPr userDrawn="1"/>
        </p:nvSpPr>
        <p:spPr>
          <a:xfrm>
            <a:off x="0" y="349251"/>
            <a:ext cx="12192000" cy="5620980"/>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userDrawn="1"/>
        </p:nvSpPr>
        <p:spPr>
          <a:xfrm>
            <a:off x="0" y="5970229"/>
            <a:ext cx="12192000" cy="88777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ctrTitle"/>
          </p:nvPr>
        </p:nvSpPr>
        <p:spPr>
          <a:xfrm>
            <a:off x="1464062" y="1947337"/>
            <a:ext cx="9525673" cy="1549399"/>
          </a:xfrm>
        </p:spPr>
        <p:txBody>
          <a:bodyPr>
            <a:noAutofit/>
          </a:bodyPr>
          <a:lstStyle>
            <a:lvl1pPr algn="l">
              <a:defRPr sz="5867">
                <a:solidFill>
                  <a:schemeClr val="bg1"/>
                </a:solidFill>
                <a:latin typeface="Franklin Gothic Book"/>
              </a:defRPr>
            </a:lvl1pPr>
          </a:lstStyle>
          <a:p>
            <a:r>
              <a:rPr lang="en-US"/>
              <a:t>Click to edit Master title style</a:t>
            </a:r>
          </a:p>
        </p:txBody>
      </p:sp>
      <p:sp>
        <p:nvSpPr>
          <p:cNvPr id="3" name="Subtitle 2"/>
          <p:cNvSpPr>
            <a:spLocks noGrp="1"/>
          </p:cNvSpPr>
          <p:nvPr>
            <p:ph type="subTitle" idx="1"/>
          </p:nvPr>
        </p:nvSpPr>
        <p:spPr>
          <a:xfrm>
            <a:off x="1464061" y="3496735"/>
            <a:ext cx="8611275" cy="857251"/>
          </a:xfrm>
        </p:spPr>
        <p:txBody>
          <a:bodyPr>
            <a:normAutofit/>
          </a:bodyPr>
          <a:lstStyle>
            <a:lvl1pPr marL="0" indent="0" algn="l">
              <a:buNone/>
              <a:defRPr sz="2933">
                <a:solidFill>
                  <a:schemeClr val="bg1"/>
                </a:solidFill>
                <a:latin typeface="Franklin Gothic Book"/>
                <a:cs typeface="Franklin Gothic Book"/>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9" name="Parallelogram 8"/>
          <p:cNvSpPr/>
          <p:nvPr userDrawn="1"/>
        </p:nvSpPr>
        <p:spPr>
          <a:xfrm flipH="1">
            <a:off x="1464061" y="1648495"/>
            <a:ext cx="991272" cy="60959"/>
          </a:xfrm>
          <a:prstGeom prst="parallelogram">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8" name="Picture 17" descr="HeaderBar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85216"/>
          </a:xfrm>
          <a:prstGeom prst="rect">
            <a:avLst/>
          </a:prstGeom>
        </p:spPr>
      </p:pic>
      <p:pic>
        <p:nvPicPr>
          <p:cNvPr id="12" name="Picture 11">
            <a:extLst>
              <a:ext uri="{FF2B5EF4-FFF2-40B4-BE49-F238E27FC236}">
                <a16:creationId xmlns:a16="http://schemas.microsoft.com/office/drawing/2014/main" id="{0638BAD4-744B-4027-AA53-409D0909967F}"/>
              </a:ext>
            </a:extLst>
          </p:cNvPr>
          <p:cNvPicPr>
            <a:picLocks noChangeAspect="1"/>
          </p:cNvPicPr>
          <p:nvPr userDrawn="1"/>
        </p:nvPicPr>
        <p:blipFill rotWithShape="1">
          <a:blip r:embed="rId3"/>
          <a:srcRect l="16072" r="28789"/>
          <a:stretch/>
        </p:blipFill>
        <p:spPr>
          <a:xfrm>
            <a:off x="6341533" y="6134745"/>
            <a:ext cx="5372608" cy="530675"/>
          </a:xfrm>
          <a:prstGeom prst="rect">
            <a:avLst/>
          </a:prstGeom>
        </p:spPr>
      </p:pic>
      <p:pic>
        <p:nvPicPr>
          <p:cNvPr id="13" name="Picture 12" descr="Text&#10;&#10;Description automatically generated">
            <a:extLst>
              <a:ext uri="{FF2B5EF4-FFF2-40B4-BE49-F238E27FC236}">
                <a16:creationId xmlns:a16="http://schemas.microsoft.com/office/drawing/2014/main" id="{08475C29-9912-42F8-8178-69730553248B}"/>
              </a:ext>
            </a:extLst>
          </p:cNvPr>
          <p:cNvPicPr>
            <a:picLocks noChangeAspect="1"/>
          </p:cNvPicPr>
          <p:nvPr userDrawn="1"/>
        </p:nvPicPr>
        <p:blipFill>
          <a:blip r:embed="rId4"/>
          <a:stretch>
            <a:fillRect/>
          </a:stretch>
        </p:blipFill>
        <p:spPr>
          <a:xfrm>
            <a:off x="477859" y="6149162"/>
            <a:ext cx="1838019" cy="501844"/>
          </a:xfrm>
          <a:prstGeom prst="rect">
            <a:avLst/>
          </a:prstGeom>
        </p:spPr>
      </p:pic>
    </p:spTree>
    <p:extLst>
      <p:ext uri="{BB962C8B-B14F-4D97-AF65-F5344CB8AC3E}">
        <p14:creationId xmlns:p14="http://schemas.microsoft.com/office/powerpoint/2010/main" val="30604049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03_Title and Content_c">
    <p:spTree>
      <p:nvGrpSpPr>
        <p:cNvPr id="1" name=""/>
        <p:cNvGrpSpPr/>
        <p:nvPr/>
      </p:nvGrpSpPr>
      <p:grpSpPr>
        <a:xfrm>
          <a:off x="0" y="0"/>
          <a:ext cx="0" cy="0"/>
          <a:chOff x="0" y="0"/>
          <a:chExt cx="0" cy="0"/>
        </a:xfrm>
      </p:grpSpPr>
      <p:sp>
        <p:nvSpPr>
          <p:cNvPr id="2" name="Title 1"/>
          <p:cNvSpPr>
            <a:spLocks noGrp="1"/>
          </p:cNvSpPr>
          <p:nvPr>
            <p:ph type="title"/>
          </p:nvPr>
        </p:nvSpPr>
        <p:spPr>
          <a:xfrm>
            <a:off x="1651000" y="1377950"/>
            <a:ext cx="9144000" cy="1290639"/>
          </a:xfrm>
        </p:spPr>
        <p:txBody>
          <a:bodyPr>
            <a:normAutofit/>
          </a:bodyPr>
          <a:lstStyle>
            <a:lvl1pPr algn="l">
              <a:defRPr sz="5067" baseline="0">
                <a:solidFill>
                  <a:srgbClr val="D9531E"/>
                </a:solidFill>
                <a:latin typeface="Franklin Gothic Book"/>
              </a:defRPr>
            </a:lvl1pPr>
          </a:lstStyle>
          <a:p>
            <a:r>
              <a:rPr lang="en-US"/>
              <a:t>Click to edit Master title style</a:t>
            </a:r>
          </a:p>
        </p:txBody>
      </p:sp>
      <p:sp>
        <p:nvSpPr>
          <p:cNvPr id="3" name="Content Placeholder 2"/>
          <p:cNvSpPr>
            <a:spLocks noGrp="1"/>
          </p:cNvSpPr>
          <p:nvPr>
            <p:ph idx="1"/>
          </p:nvPr>
        </p:nvSpPr>
        <p:spPr>
          <a:xfrm>
            <a:off x="1651000" y="2914650"/>
            <a:ext cx="9144000" cy="2241551"/>
          </a:xfrm>
        </p:spPr>
        <p:txBody>
          <a:bodyPr>
            <a:normAutofit/>
          </a:bodyPr>
          <a:lstStyle>
            <a:lvl1pPr marL="0" indent="0">
              <a:spcBef>
                <a:spcPts val="0"/>
              </a:spcBef>
              <a:buFontTx/>
              <a:buNone/>
              <a:defRPr sz="2933" baseline="0">
                <a:solidFill>
                  <a:schemeClr val="tx1"/>
                </a:solidFill>
                <a:latin typeface="Franklin Gothic Book"/>
              </a:defRPr>
            </a:lvl1pPr>
            <a:lvl2pPr marL="0" indent="0">
              <a:spcBef>
                <a:spcPts val="0"/>
              </a:spcBef>
              <a:buFontTx/>
              <a:buNone/>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0" indent="0">
              <a:spcBef>
                <a:spcPts val="0"/>
              </a:spcBef>
              <a:buFontTx/>
              <a:buNone/>
              <a:defRPr sz="2933"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pic>
        <p:nvPicPr>
          <p:cNvPr id="15" name="Picture 14"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03200"/>
            <a:ext cx="12192000" cy="105664"/>
          </a:xfrm>
          <a:prstGeom prst="rect">
            <a:avLst/>
          </a:prstGeom>
        </p:spPr>
      </p:pic>
      <p:sp>
        <p:nvSpPr>
          <p:cNvPr id="8" name="Rectangle 7"/>
          <p:cNvSpPr/>
          <p:nvPr userDrawn="1"/>
        </p:nvSpPr>
        <p:spPr>
          <a:xfrm>
            <a:off x="0" y="5970229"/>
            <a:ext cx="12192000" cy="887771"/>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2" name="Picture 11" descr="Logo, company name&#10;&#10;Description automatically generated">
            <a:extLst>
              <a:ext uri="{FF2B5EF4-FFF2-40B4-BE49-F238E27FC236}">
                <a16:creationId xmlns:a16="http://schemas.microsoft.com/office/drawing/2014/main" id="{EC52C62A-E11E-4355-AA8E-51A615E3ACED}"/>
              </a:ext>
            </a:extLst>
          </p:cNvPr>
          <p:cNvPicPr>
            <a:picLocks noChangeAspect="1"/>
          </p:cNvPicPr>
          <p:nvPr userDrawn="1"/>
        </p:nvPicPr>
        <p:blipFill>
          <a:blip r:embed="rId3"/>
          <a:stretch>
            <a:fillRect/>
          </a:stretch>
        </p:blipFill>
        <p:spPr>
          <a:xfrm>
            <a:off x="241300" y="5060791"/>
            <a:ext cx="2667000" cy="2667000"/>
          </a:xfrm>
          <a:prstGeom prst="rect">
            <a:avLst/>
          </a:prstGeom>
        </p:spPr>
      </p:pic>
      <p:pic>
        <p:nvPicPr>
          <p:cNvPr id="13" name="Picture 12">
            <a:extLst>
              <a:ext uri="{FF2B5EF4-FFF2-40B4-BE49-F238E27FC236}">
                <a16:creationId xmlns:a16="http://schemas.microsoft.com/office/drawing/2014/main" id="{B031A60D-3BF7-454F-BAAF-ED13E48B4A47}"/>
              </a:ext>
            </a:extLst>
          </p:cNvPr>
          <p:cNvPicPr>
            <a:picLocks noChangeAspect="1"/>
          </p:cNvPicPr>
          <p:nvPr userDrawn="1"/>
        </p:nvPicPr>
        <p:blipFill>
          <a:blip r:embed="rId4"/>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6206511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04_Title and Content_c">
    <p:spTree>
      <p:nvGrpSpPr>
        <p:cNvPr id="1" name=""/>
        <p:cNvGrpSpPr/>
        <p:nvPr/>
      </p:nvGrpSpPr>
      <p:grpSpPr>
        <a:xfrm>
          <a:off x="0" y="0"/>
          <a:ext cx="0" cy="0"/>
          <a:chOff x="0" y="0"/>
          <a:chExt cx="0" cy="0"/>
        </a:xfrm>
      </p:grpSpPr>
      <p:sp>
        <p:nvSpPr>
          <p:cNvPr id="8" name="Title 1"/>
          <p:cNvSpPr>
            <a:spLocks noGrp="1"/>
          </p:cNvSpPr>
          <p:nvPr>
            <p:ph type="title"/>
          </p:nvPr>
        </p:nvSpPr>
        <p:spPr>
          <a:xfrm>
            <a:off x="1645019" y="1793128"/>
            <a:ext cx="2142076" cy="1375824"/>
          </a:xfrm>
        </p:spPr>
        <p:txBody>
          <a:bodyPr>
            <a:normAutofit/>
          </a:bodyPr>
          <a:lstStyle>
            <a:lvl1pPr algn="ctr">
              <a:defRPr sz="2933" baseline="0">
                <a:solidFill>
                  <a:schemeClr val="accent2"/>
                </a:solidFill>
                <a:latin typeface="Franklin Gothic Book"/>
              </a:defRPr>
            </a:lvl1pPr>
          </a:lstStyle>
          <a:p>
            <a:r>
              <a:rPr lang="en-US"/>
              <a:t>Click to edit Master title style</a:t>
            </a:r>
          </a:p>
        </p:txBody>
      </p:sp>
      <p:sp>
        <p:nvSpPr>
          <p:cNvPr id="10" name="Rectangle 9"/>
          <p:cNvSpPr/>
          <p:nvPr userDrawn="1"/>
        </p:nvSpPr>
        <p:spPr>
          <a:xfrm>
            <a:off x="1106520" y="623882"/>
            <a:ext cx="3219075" cy="3714317"/>
          </a:xfrm>
          <a:prstGeom prst="rect">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6"/>
          <p:cNvSpPr>
            <a:spLocks noGrp="1"/>
          </p:cNvSpPr>
          <p:nvPr>
            <p:ph type="body" sz="quarter" idx="11" hasCustomPrompt="1"/>
          </p:nvPr>
        </p:nvSpPr>
        <p:spPr>
          <a:xfrm>
            <a:off x="229339" y="4627760"/>
            <a:ext cx="4973437" cy="1110637"/>
          </a:xfrm>
        </p:spPr>
        <p:txBody>
          <a:bodyPr>
            <a:normAutofit/>
          </a:bodyPr>
          <a:lstStyle>
            <a:lvl1pPr marL="0" indent="0" algn="ctr">
              <a:buNone/>
              <a:defRPr sz="2400" baseline="0">
                <a:latin typeface="Franklin Gothic Book" panose="020B0503020102020204" pitchFamily="34" charset="0"/>
              </a:defRPr>
            </a:lvl1pPr>
          </a:lstStyle>
          <a:p>
            <a:pPr lvl="0"/>
            <a:r>
              <a:rPr lang="en-US"/>
              <a:t>Click to edit sub master text styles</a:t>
            </a:r>
          </a:p>
        </p:txBody>
      </p:sp>
      <p:pic>
        <p:nvPicPr>
          <p:cNvPr id="13" name="Picture 12"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9339" y="4456635"/>
            <a:ext cx="4973437" cy="113396"/>
          </a:xfrm>
          <a:prstGeom prst="rect">
            <a:avLst/>
          </a:prstGeom>
        </p:spPr>
      </p:pic>
      <p:sp>
        <p:nvSpPr>
          <p:cNvPr id="14" name="Content Placeholder 2"/>
          <p:cNvSpPr>
            <a:spLocks noGrp="1" noChangeAspect="1"/>
          </p:cNvSpPr>
          <p:nvPr>
            <p:ph idx="1"/>
          </p:nvPr>
        </p:nvSpPr>
        <p:spPr>
          <a:xfrm>
            <a:off x="6115353" y="623882"/>
            <a:ext cx="5767009" cy="5114516"/>
          </a:xfrm>
        </p:spPr>
        <p:txBody>
          <a:bodyPr>
            <a:normAutofit/>
          </a:bodyPr>
          <a:lstStyle>
            <a:lvl1pPr marL="457177" indent="-457177">
              <a:spcBef>
                <a:spcPts val="0"/>
              </a:spcBef>
              <a:buFont typeface="Arial" panose="020B0604020202020204" pitchFamily="34" charset="0"/>
              <a:buChar char="•"/>
              <a:defRPr sz="2933" baseline="0">
                <a:solidFill>
                  <a:schemeClr val="tx1"/>
                </a:solidFill>
                <a:latin typeface="Franklin Gothic Book"/>
              </a:defRPr>
            </a:lvl1pPr>
            <a:lvl2pPr marL="457177" indent="-457177">
              <a:spcBef>
                <a:spcPts val="0"/>
              </a:spcBef>
              <a:buFont typeface="Arial" panose="020B0604020202020204" pitchFamily="34" charset="0"/>
              <a:buChar char="•"/>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910121" indent="-457177">
              <a:spcBef>
                <a:spcPts val="0"/>
              </a:spcBef>
              <a:buFont typeface="Arial" panose="020B0604020202020204" pitchFamily="34" charset="0"/>
              <a:buChar char="•"/>
              <a:defRPr sz="2667"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vl6pPr marL="1219139" indent="-304784">
              <a:defRPr sz="2400">
                <a:latin typeface="Franklin Gothic Book" panose="020B0503020102020204" pitchFamily="34" charset="0"/>
              </a:defRPr>
            </a:lvl6pPr>
          </a:lstStyle>
          <a:p>
            <a:pPr lvl="0"/>
            <a:r>
              <a:rPr lang="en-US"/>
              <a:t>Edit Master text styles</a:t>
            </a:r>
          </a:p>
          <a:p>
            <a:pPr lvl="3"/>
            <a:r>
              <a:rPr lang="en-US"/>
              <a:t>Second level</a:t>
            </a:r>
          </a:p>
          <a:p>
            <a:pPr lvl="5"/>
            <a:r>
              <a:rPr lang="en-US"/>
              <a:t>Third level</a:t>
            </a:r>
          </a:p>
        </p:txBody>
      </p:sp>
      <p:sp>
        <p:nvSpPr>
          <p:cNvPr id="11" name="Rectangle 10"/>
          <p:cNvSpPr/>
          <p:nvPr userDrawn="1"/>
        </p:nvSpPr>
        <p:spPr>
          <a:xfrm>
            <a:off x="0" y="5970229"/>
            <a:ext cx="12192000" cy="887771"/>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5" name="Picture 14" descr="Logo, company name&#10;&#10;Description automatically generated">
            <a:extLst>
              <a:ext uri="{FF2B5EF4-FFF2-40B4-BE49-F238E27FC236}">
                <a16:creationId xmlns:a16="http://schemas.microsoft.com/office/drawing/2014/main" id="{AA618A6B-D239-43FC-8CA7-915F70FD341B}"/>
              </a:ext>
            </a:extLst>
          </p:cNvPr>
          <p:cNvPicPr>
            <a:picLocks noChangeAspect="1"/>
          </p:cNvPicPr>
          <p:nvPr userDrawn="1"/>
        </p:nvPicPr>
        <p:blipFill>
          <a:blip r:embed="rId3"/>
          <a:stretch>
            <a:fillRect/>
          </a:stretch>
        </p:blipFill>
        <p:spPr>
          <a:xfrm>
            <a:off x="241300" y="5060791"/>
            <a:ext cx="2667000" cy="2667000"/>
          </a:xfrm>
          <a:prstGeom prst="rect">
            <a:avLst/>
          </a:prstGeom>
        </p:spPr>
      </p:pic>
      <p:pic>
        <p:nvPicPr>
          <p:cNvPr id="17" name="Picture 16">
            <a:extLst>
              <a:ext uri="{FF2B5EF4-FFF2-40B4-BE49-F238E27FC236}">
                <a16:creationId xmlns:a16="http://schemas.microsoft.com/office/drawing/2014/main" id="{4BF25FE1-2DF8-4CEB-82F7-AA7A65059F57}"/>
              </a:ext>
            </a:extLst>
          </p:cNvPr>
          <p:cNvPicPr>
            <a:picLocks noChangeAspect="1"/>
          </p:cNvPicPr>
          <p:nvPr userDrawn="1"/>
        </p:nvPicPr>
        <p:blipFill>
          <a:blip r:embed="rId4"/>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8877264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05_Three Content Category_c">
    <p:spTree>
      <p:nvGrpSpPr>
        <p:cNvPr id="1" name=""/>
        <p:cNvGrpSpPr/>
        <p:nvPr/>
      </p:nvGrpSpPr>
      <p:grpSpPr>
        <a:xfrm>
          <a:off x="0" y="0"/>
          <a:ext cx="0" cy="0"/>
          <a:chOff x="0" y="0"/>
          <a:chExt cx="0" cy="0"/>
        </a:xfrm>
      </p:grpSpPr>
      <p:sp>
        <p:nvSpPr>
          <p:cNvPr id="8" name="Title 1"/>
          <p:cNvSpPr>
            <a:spLocks noGrp="1" noChangeAspect="1"/>
          </p:cNvSpPr>
          <p:nvPr>
            <p:ph type="title"/>
          </p:nvPr>
        </p:nvSpPr>
        <p:spPr>
          <a:xfrm>
            <a:off x="178888" y="410547"/>
            <a:ext cx="5931125" cy="1720851"/>
          </a:xfrm>
          <a:noFill/>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9" name="Content Placeholder 2"/>
          <p:cNvSpPr>
            <a:spLocks noGrp="1" noChangeAspect="1"/>
          </p:cNvSpPr>
          <p:nvPr>
            <p:ph idx="1"/>
          </p:nvPr>
        </p:nvSpPr>
        <p:spPr>
          <a:xfrm>
            <a:off x="6341533" y="410549"/>
            <a:ext cx="5668288" cy="5449377"/>
          </a:xfrm>
        </p:spPr>
        <p:txBody>
          <a:bodyPr>
            <a:normAutofit/>
          </a:bodyPr>
          <a:lstStyle>
            <a:lvl1pPr marL="457177" indent="-457177">
              <a:spcBef>
                <a:spcPts val="0"/>
              </a:spcBef>
              <a:buFont typeface="Arial" panose="020B0604020202020204" pitchFamily="34" charset="0"/>
              <a:buChar char="•"/>
              <a:defRPr sz="2933" baseline="0">
                <a:solidFill>
                  <a:schemeClr val="tx1"/>
                </a:solidFill>
                <a:latin typeface="Franklin Gothic Book"/>
              </a:defRPr>
            </a:lvl1pPr>
            <a:lvl2pPr marL="457177" indent="-457177">
              <a:spcBef>
                <a:spcPts val="0"/>
              </a:spcBef>
              <a:buFont typeface="Arial" panose="020B0604020202020204" pitchFamily="34" charset="0"/>
              <a:buChar char="•"/>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910121" indent="-457177">
              <a:spcBef>
                <a:spcPts val="0"/>
              </a:spcBef>
              <a:buFont typeface="Arial" panose="020B0604020202020204" pitchFamily="34" charset="0"/>
              <a:buChar char="•"/>
              <a:defRPr sz="2667"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vl6pPr marL="1219139" indent="-304784">
              <a:defRPr sz="2400">
                <a:latin typeface="Franklin Gothic Book" panose="020B0503020102020204" pitchFamily="34" charset="0"/>
              </a:defRPr>
            </a:lvl6pPr>
          </a:lstStyle>
          <a:p>
            <a:pPr lvl="0"/>
            <a:r>
              <a:rPr lang="en-US"/>
              <a:t>Edit Master text styles</a:t>
            </a:r>
          </a:p>
          <a:p>
            <a:pPr lvl="3"/>
            <a:r>
              <a:rPr lang="en-US"/>
              <a:t>Second level</a:t>
            </a:r>
          </a:p>
          <a:p>
            <a:pPr lvl="5"/>
            <a:r>
              <a:rPr lang="en-US"/>
              <a:t>Third level</a:t>
            </a:r>
          </a:p>
        </p:txBody>
      </p:sp>
      <p:sp>
        <p:nvSpPr>
          <p:cNvPr id="10" name="Text Placeholder 32"/>
          <p:cNvSpPr>
            <a:spLocks noGrp="1"/>
          </p:cNvSpPr>
          <p:nvPr>
            <p:ph type="body" sz="quarter" idx="26"/>
          </p:nvPr>
        </p:nvSpPr>
        <p:spPr>
          <a:xfrm>
            <a:off x="431800" y="2395290"/>
            <a:ext cx="5678213" cy="922407"/>
          </a:xfrm>
        </p:spPr>
        <p:txBody>
          <a:bodyPr/>
          <a:lstStyle>
            <a:lvl1pPr marL="0" indent="0">
              <a:buNone/>
              <a:defRPr sz="2400" b="0">
                <a:latin typeface="Franklin Gothic Book" panose="020B0503020102020204" pitchFamily="34" charset="0"/>
              </a:defRPr>
            </a:lvl1pPr>
            <a:lvl2pPr marL="380982" indent="-380982">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2" name="Rectangle 11"/>
          <p:cNvSpPr>
            <a:spLocks/>
          </p:cNvSpPr>
          <p:nvPr userDrawn="1"/>
        </p:nvSpPr>
        <p:spPr>
          <a:xfrm>
            <a:off x="186209" y="2403296"/>
            <a:ext cx="60959"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32"/>
          <p:cNvSpPr>
            <a:spLocks noGrp="1"/>
          </p:cNvSpPr>
          <p:nvPr>
            <p:ph type="body" sz="quarter" idx="27"/>
          </p:nvPr>
        </p:nvSpPr>
        <p:spPr>
          <a:xfrm>
            <a:off x="431800" y="3597021"/>
            <a:ext cx="5678213" cy="913408"/>
          </a:xfrm>
        </p:spPr>
        <p:txBody>
          <a:bodyPr/>
          <a:lstStyle>
            <a:lvl1pPr marL="0" indent="0">
              <a:buNone/>
              <a:defRPr sz="2400" b="0">
                <a:latin typeface="Franklin Gothic Book" panose="020B0503020102020204" pitchFamily="34" charset="0"/>
              </a:defRPr>
            </a:lvl1pPr>
            <a:lvl2pPr marL="380982" indent="-380982">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4" name="Rectangle 13"/>
          <p:cNvSpPr>
            <a:spLocks/>
          </p:cNvSpPr>
          <p:nvPr userDrawn="1"/>
        </p:nvSpPr>
        <p:spPr>
          <a:xfrm>
            <a:off x="186207" y="3596029"/>
            <a:ext cx="60959"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Text Placeholder 32"/>
          <p:cNvSpPr>
            <a:spLocks noGrp="1"/>
          </p:cNvSpPr>
          <p:nvPr>
            <p:ph type="body" sz="quarter" idx="28"/>
          </p:nvPr>
        </p:nvSpPr>
        <p:spPr>
          <a:xfrm>
            <a:off x="431800" y="4790784"/>
            <a:ext cx="5678213" cy="912379"/>
          </a:xfrm>
        </p:spPr>
        <p:txBody>
          <a:bodyPr/>
          <a:lstStyle>
            <a:lvl1pPr marL="0" indent="0">
              <a:buNone/>
              <a:defRPr sz="2400" b="0">
                <a:latin typeface="Franklin Gothic Book" panose="020B0503020102020204" pitchFamily="34" charset="0"/>
              </a:defRPr>
            </a:lvl1pPr>
            <a:lvl2pPr marL="457177" indent="-457177">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8" name="Rectangle 17"/>
          <p:cNvSpPr>
            <a:spLocks/>
          </p:cNvSpPr>
          <p:nvPr userDrawn="1"/>
        </p:nvSpPr>
        <p:spPr>
          <a:xfrm>
            <a:off x="186206" y="4788763"/>
            <a:ext cx="60959"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1" name="Picture 20"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933"/>
            <a:ext cx="12192000" cy="105664"/>
          </a:xfrm>
          <a:prstGeom prst="rect">
            <a:avLst/>
          </a:prstGeom>
        </p:spPr>
      </p:pic>
      <p:sp>
        <p:nvSpPr>
          <p:cNvPr id="15" name="Rectangle 14"/>
          <p:cNvSpPr/>
          <p:nvPr userDrawn="1"/>
        </p:nvSpPr>
        <p:spPr>
          <a:xfrm>
            <a:off x="0" y="5970229"/>
            <a:ext cx="12192000" cy="887771"/>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9" name="Picture 18" descr="Logo, company name&#10;&#10;Description automatically generated">
            <a:extLst>
              <a:ext uri="{FF2B5EF4-FFF2-40B4-BE49-F238E27FC236}">
                <a16:creationId xmlns:a16="http://schemas.microsoft.com/office/drawing/2014/main" id="{9C149D4B-C624-4FC0-93DD-EFCA07967BEF}"/>
              </a:ext>
            </a:extLst>
          </p:cNvPr>
          <p:cNvPicPr>
            <a:picLocks noChangeAspect="1"/>
          </p:cNvPicPr>
          <p:nvPr userDrawn="1"/>
        </p:nvPicPr>
        <p:blipFill>
          <a:blip r:embed="rId3"/>
          <a:stretch>
            <a:fillRect/>
          </a:stretch>
        </p:blipFill>
        <p:spPr>
          <a:xfrm>
            <a:off x="241300" y="5060791"/>
            <a:ext cx="2667000" cy="2667000"/>
          </a:xfrm>
          <a:prstGeom prst="rect">
            <a:avLst/>
          </a:prstGeom>
        </p:spPr>
      </p:pic>
      <p:pic>
        <p:nvPicPr>
          <p:cNvPr id="20" name="Picture 19">
            <a:extLst>
              <a:ext uri="{FF2B5EF4-FFF2-40B4-BE49-F238E27FC236}">
                <a16:creationId xmlns:a16="http://schemas.microsoft.com/office/drawing/2014/main" id="{074FB076-2526-4558-8086-4E1EB67D09AE}"/>
              </a:ext>
            </a:extLst>
          </p:cNvPr>
          <p:cNvPicPr>
            <a:picLocks noChangeAspect="1"/>
          </p:cNvPicPr>
          <p:nvPr userDrawn="1"/>
        </p:nvPicPr>
        <p:blipFill>
          <a:blip r:embed="rId4"/>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24735488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06_Five Content Category_c">
    <p:spTree>
      <p:nvGrpSpPr>
        <p:cNvPr id="1" name=""/>
        <p:cNvGrpSpPr/>
        <p:nvPr/>
      </p:nvGrpSpPr>
      <p:grpSpPr>
        <a:xfrm>
          <a:off x="0" y="0"/>
          <a:ext cx="0" cy="0"/>
          <a:chOff x="0" y="0"/>
          <a:chExt cx="0" cy="0"/>
        </a:xfrm>
      </p:grpSpPr>
      <p:sp>
        <p:nvSpPr>
          <p:cNvPr id="8" name="Title 1"/>
          <p:cNvSpPr>
            <a:spLocks noGrp="1" noChangeAspect="1"/>
          </p:cNvSpPr>
          <p:nvPr>
            <p:ph type="title"/>
          </p:nvPr>
        </p:nvSpPr>
        <p:spPr>
          <a:xfrm>
            <a:off x="178888" y="410547"/>
            <a:ext cx="5931125" cy="1720851"/>
          </a:xfrm>
          <a:noFill/>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9" name="Content Placeholder 2"/>
          <p:cNvSpPr>
            <a:spLocks noGrp="1" noChangeAspect="1"/>
          </p:cNvSpPr>
          <p:nvPr>
            <p:ph idx="1"/>
          </p:nvPr>
        </p:nvSpPr>
        <p:spPr>
          <a:xfrm>
            <a:off x="6341533" y="410549"/>
            <a:ext cx="5668288" cy="5449377"/>
          </a:xfrm>
        </p:spPr>
        <p:txBody>
          <a:bodyPr>
            <a:normAutofit/>
          </a:bodyPr>
          <a:lstStyle>
            <a:lvl1pPr marL="457177" indent="-457177">
              <a:spcBef>
                <a:spcPts val="0"/>
              </a:spcBef>
              <a:buFont typeface="Arial" panose="020B0604020202020204" pitchFamily="34" charset="0"/>
              <a:buChar char="•"/>
              <a:defRPr sz="2933" baseline="0">
                <a:solidFill>
                  <a:schemeClr val="tx1"/>
                </a:solidFill>
                <a:latin typeface="Franklin Gothic Book"/>
              </a:defRPr>
            </a:lvl1pPr>
            <a:lvl2pPr marL="457177" indent="-457177">
              <a:spcBef>
                <a:spcPts val="0"/>
              </a:spcBef>
              <a:buFont typeface="Arial" panose="020B0604020202020204" pitchFamily="34" charset="0"/>
              <a:buChar char="•"/>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910121" indent="-457177">
              <a:spcBef>
                <a:spcPts val="0"/>
              </a:spcBef>
              <a:buFont typeface="Arial" panose="020B0604020202020204" pitchFamily="34" charset="0"/>
              <a:buChar char="•"/>
              <a:defRPr sz="2667"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vl6pPr marL="1219139" indent="-304784">
              <a:defRPr sz="2400">
                <a:latin typeface="Franklin Gothic Book" panose="020B0503020102020204" pitchFamily="34" charset="0"/>
              </a:defRPr>
            </a:lvl6pPr>
          </a:lstStyle>
          <a:p>
            <a:pPr lvl="0"/>
            <a:r>
              <a:rPr lang="en-US"/>
              <a:t>Edit Master text styles</a:t>
            </a:r>
          </a:p>
          <a:p>
            <a:pPr lvl="3"/>
            <a:r>
              <a:rPr lang="en-US"/>
              <a:t>Second level</a:t>
            </a:r>
          </a:p>
          <a:p>
            <a:pPr lvl="5"/>
            <a:r>
              <a:rPr lang="en-US"/>
              <a:t>Third level</a:t>
            </a:r>
          </a:p>
        </p:txBody>
      </p:sp>
      <p:sp>
        <p:nvSpPr>
          <p:cNvPr id="10" name="Text Placeholder 32"/>
          <p:cNvSpPr>
            <a:spLocks noGrp="1"/>
          </p:cNvSpPr>
          <p:nvPr>
            <p:ph type="body" sz="quarter" idx="26"/>
          </p:nvPr>
        </p:nvSpPr>
        <p:spPr>
          <a:xfrm>
            <a:off x="431800" y="2248481"/>
            <a:ext cx="5678213" cy="721732"/>
          </a:xfrm>
        </p:spPr>
        <p:txBody>
          <a:bodyPr/>
          <a:lstStyle>
            <a:lvl1pPr marL="0" indent="0">
              <a:buNone/>
              <a:defRPr sz="2400" b="0">
                <a:latin typeface="Franklin Gothic Book" panose="020B0503020102020204" pitchFamily="34" charset="0"/>
              </a:defRPr>
            </a:lvl1pPr>
            <a:lvl2pPr marL="380982" indent="-380982">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2" name="Rectangle 11"/>
          <p:cNvSpPr>
            <a:spLocks/>
          </p:cNvSpPr>
          <p:nvPr userDrawn="1"/>
        </p:nvSpPr>
        <p:spPr>
          <a:xfrm>
            <a:off x="186209" y="2248480"/>
            <a:ext cx="60959" cy="73152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32"/>
          <p:cNvSpPr>
            <a:spLocks noGrp="1"/>
          </p:cNvSpPr>
          <p:nvPr>
            <p:ph type="body" sz="quarter" idx="27"/>
          </p:nvPr>
        </p:nvSpPr>
        <p:spPr>
          <a:xfrm>
            <a:off x="431800" y="3203811"/>
            <a:ext cx="5678213" cy="735097"/>
          </a:xfrm>
        </p:spPr>
        <p:txBody>
          <a:bodyPr/>
          <a:lstStyle>
            <a:lvl1pPr marL="0" indent="0">
              <a:buNone/>
              <a:defRPr sz="2400" b="0">
                <a:latin typeface="Franklin Gothic Book" panose="020B0503020102020204" pitchFamily="34" charset="0"/>
              </a:defRPr>
            </a:lvl1pPr>
            <a:lvl2pPr marL="380982" indent="-380982">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4" name="Rectangle 13"/>
          <p:cNvSpPr>
            <a:spLocks/>
          </p:cNvSpPr>
          <p:nvPr userDrawn="1"/>
        </p:nvSpPr>
        <p:spPr>
          <a:xfrm>
            <a:off x="186207" y="3207388"/>
            <a:ext cx="60959" cy="73152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Text Placeholder 32"/>
          <p:cNvSpPr>
            <a:spLocks noGrp="1"/>
          </p:cNvSpPr>
          <p:nvPr>
            <p:ph type="body" sz="quarter" idx="28"/>
          </p:nvPr>
        </p:nvSpPr>
        <p:spPr>
          <a:xfrm>
            <a:off x="431800" y="4166296"/>
            <a:ext cx="5678213" cy="731520"/>
          </a:xfrm>
        </p:spPr>
        <p:txBody>
          <a:bodyPr/>
          <a:lstStyle>
            <a:lvl1pPr marL="0" indent="0">
              <a:buNone/>
              <a:defRPr sz="2400" b="0">
                <a:latin typeface="Franklin Gothic Book" panose="020B0503020102020204" pitchFamily="34" charset="0"/>
              </a:defRPr>
            </a:lvl1pPr>
            <a:lvl2pPr marL="457177" indent="-457177">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18" name="Rectangle 17"/>
          <p:cNvSpPr>
            <a:spLocks/>
          </p:cNvSpPr>
          <p:nvPr userDrawn="1"/>
        </p:nvSpPr>
        <p:spPr>
          <a:xfrm>
            <a:off x="186206" y="4166296"/>
            <a:ext cx="60959" cy="73152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Text Placeholder 32"/>
          <p:cNvSpPr>
            <a:spLocks noGrp="1"/>
          </p:cNvSpPr>
          <p:nvPr>
            <p:ph type="body" sz="quarter" idx="29"/>
          </p:nvPr>
        </p:nvSpPr>
        <p:spPr>
          <a:xfrm>
            <a:off x="431800" y="5131415"/>
            <a:ext cx="5678213" cy="728511"/>
          </a:xfrm>
        </p:spPr>
        <p:txBody>
          <a:bodyPr/>
          <a:lstStyle>
            <a:lvl1pPr marL="0" indent="0">
              <a:buNone/>
              <a:defRPr sz="2400" b="0">
                <a:latin typeface="Franklin Gothic Book" panose="020B0503020102020204" pitchFamily="34" charset="0"/>
              </a:defRPr>
            </a:lvl1pPr>
            <a:lvl2pPr marL="457177" indent="-457177">
              <a:buFont typeface="Arial" panose="020B0604020202020204" pitchFamily="34" charset="0"/>
              <a:buChar char="•"/>
              <a:defRPr sz="1867">
                <a:latin typeface="Franklin Gothic Book" panose="020B0503020102020204" pitchFamily="34" charset="0"/>
              </a:defRPr>
            </a:lvl2pPr>
          </a:lstStyle>
          <a:p>
            <a:pPr lvl="0"/>
            <a:r>
              <a:rPr lang="en-US"/>
              <a:t>Edit Master text styles</a:t>
            </a:r>
          </a:p>
          <a:p>
            <a:pPr lvl="1"/>
            <a:r>
              <a:rPr lang="en-US"/>
              <a:t>Second level</a:t>
            </a:r>
          </a:p>
        </p:txBody>
      </p:sp>
      <p:sp>
        <p:nvSpPr>
          <p:cNvPr id="20" name="Rectangle 19"/>
          <p:cNvSpPr>
            <a:spLocks/>
          </p:cNvSpPr>
          <p:nvPr userDrawn="1"/>
        </p:nvSpPr>
        <p:spPr>
          <a:xfrm>
            <a:off x="178889" y="5128405"/>
            <a:ext cx="60959" cy="73152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1" name="Picture 20"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933"/>
            <a:ext cx="12192000" cy="105664"/>
          </a:xfrm>
          <a:prstGeom prst="rect">
            <a:avLst/>
          </a:prstGeom>
        </p:spPr>
      </p:pic>
      <p:sp>
        <p:nvSpPr>
          <p:cNvPr id="24" name="Rectangle 23"/>
          <p:cNvSpPr/>
          <p:nvPr userDrawn="1"/>
        </p:nvSpPr>
        <p:spPr>
          <a:xfrm>
            <a:off x="0" y="5970229"/>
            <a:ext cx="12192000" cy="887771"/>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7" name="Picture 16" descr="Logo, company name&#10;&#10;Description automatically generated">
            <a:extLst>
              <a:ext uri="{FF2B5EF4-FFF2-40B4-BE49-F238E27FC236}">
                <a16:creationId xmlns:a16="http://schemas.microsoft.com/office/drawing/2014/main" id="{59003135-F1A3-4E3C-BE2F-700A3D8CDEB7}"/>
              </a:ext>
            </a:extLst>
          </p:cNvPr>
          <p:cNvPicPr>
            <a:picLocks noChangeAspect="1"/>
          </p:cNvPicPr>
          <p:nvPr userDrawn="1"/>
        </p:nvPicPr>
        <p:blipFill>
          <a:blip r:embed="rId3"/>
          <a:stretch>
            <a:fillRect/>
          </a:stretch>
        </p:blipFill>
        <p:spPr>
          <a:xfrm>
            <a:off x="241300" y="5060791"/>
            <a:ext cx="2667000" cy="2667000"/>
          </a:xfrm>
          <a:prstGeom prst="rect">
            <a:avLst/>
          </a:prstGeom>
        </p:spPr>
      </p:pic>
      <p:pic>
        <p:nvPicPr>
          <p:cNvPr id="23" name="Picture 22">
            <a:extLst>
              <a:ext uri="{FF2B5EF4-FFF2-40B4-BE49-F238E27FC236}">
                <a16:creationId xmlns:a16="http://schemas.microsoft.com/office/drawing/2014/main" id="{74F9CF13-D1C4-465B-9004-7FB0D3B1D3CF}"/>
              </a:ext>
            </a:extLst>
          </p:cNvPr>
          <p:cNvPicPr>
            <a:picLocks noChangeAspect="1"/>
          </p:cNvPicPr>
          <p:nvPr userDrawn="1"/>
        </p:nvPicPr>
        <p:blipFill>
          <a:blip r:embed="rId4"/>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109709629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07_Multi Content_c">
    <p:spTree>
      <p:nvGrpSpPr>
        <p:cNvPr id="1" name=""/>
        <p:cNvGrpSpPr/>
        <p:nvPr/>
      </p:nvGrpSpPr>
      <p:grpSpPr>
        <a:xfrm>
          <a:off x="0" y="0"/>
          <a:ext cx="0" cy="0"/>
          <a:chOff x="0" y="0"/>
          <a:chExt cx="0" cy="0"/>
        </a:xfrm>
      </p:grpSpPr>
      <p:sp>
        <p:nvSpPr>
          <p:cNvPr id="8" name="Title 1"/>
          <p:cNvSpPr>
            <a:spLocks noGrp="1" noChangeAspect="1"/>
          </p:cNvSpPr>
          <p:nvPr>
            <p:ph type="title"/>
          </p:nvPr>
        </p:nvSpPr>
        <p:spPr>
          <a:xfrm>
            <a:off x="535913" y="278851"/>
            <a:ext cx="5517657" cy="1537823"/>
          </a:xfrm>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12" name="Content Placeholder 3"/>
          <p:cNvSpPr>
            <a:spLocks noGrp="1"/>
          </p:cNvSpPr>
          <p:nvPr>
            <p:ph sz="quarter" idx="17"/>
          </p:nvPr>
        </p:nvSpPr>
        <p:spPr>
          <a:xfrm>
            <a:off x="6266453" y="278851"/>
            <a:ext cx="5324883" cy="5597755"/>
          </a:xfrm>
        </p:spPr>
        <p:txBody>
          <a:bodyPr>
            <a:normAutofit/>
          </a:bodyPr>
          <a:lstStyle>
            <a:lvl1pPr>
              <a:defRPr sz="3200">
                <a:latin typeface="Franklin Gothic Book" panose="020B0503020102020204" pitchFamily="34" charset="0"/>
              </a:defRPr>
            </a:lvl1pPr>
            <a:lvl2pPr marL="990551" indent="-380982">
              <a:buFont typeface="Courier New" panose="02070309020205020404" pitchFamily="49" charset="0"/>
              <a:buChar char="o"/>
              <a:defRPr sz="2667"/>
            </a:lvl2pPr>
            <a:lvl3pPr marL="1523962" indent="-304792">
              <a:buFont typeface="Arial" panose="020B0604020202020204" pitchFamily="34" charset="0"/>
              <a:buChar char="•"/>
              <a:defRPr sz="2400"/>
            </a:lvl3pPr>
            <a:lvl4pPr marL="2133547" indent="-304792">
              <a:buFont typeface="Courier New" panose="02070309020205020404" pitchFamily="49" charset="0"/>
              <a:buChar char="o"/>
              <a:defRPr sz="2133"/>
            </a:lvl4pPr>
            <a:lvl5pPr marL="2743131" indent="-304792">
              <a:buFont typeface="Arial" panose="020B0604020202020204" pitchFamily="34" charset="0"/>
              <a:buChar char="•"/>
              <a:defRPr sz="18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535912" y="1816668"/>
            <a:ext cx="5517659" cy="111312"/>
          </a:xfrm>
          <a:prstGeom prst="rect">
            <a:avLst/>
          </a:prstGeom>
        </p:spPr>
      </p:pic>
      <p:sp>
        <p:nvSpPr>
          <p:cNvPr id="14" name="Content Placeholder 3"/>
          <p:cNvSpPr>
            <a:spLocks noGrp="1"/>
          </p:cNvSpPr>
          <p:nvPr>
            <p:ph sz="quarter" idx="18"/>
          </p:nvPr>
        </p:nvSpPr>
        <p:spPr>
          <a:xfrm>
            <a:off x="535913" y="2222277"/>
            <a:ext cx="5517657" cy="3654328"/>
          </a:xfrm>
        </p:spPr>
        <p:txBody>
          <a:bodyPr>
            <a:normAutofit/>
          </a:bodyPr>
          <a:lstStyle>
            <a:lvl1pPr>
              <a:defRPr sz="3200">
                <a:latin typeface="Franklin Gothic Book" panose="020B0503020102020204" pitchFamily="34" charset="0"/>
              </a:defRPr>
            </a:lvl1pPr>
            <a:lvl2pPr marL="990551" indent="-380982">
              <a:buFont typeface="Courier New" panose="02070309020205020404" pitchFamily="49" charset="0"/>
              <a:buChar char="o"/>
              <a:defRPr sz="2667"/>
            </a:lvl2pPr>
            <a:lvl3pPr marL="1523962" indent="-304792">
              <a:buFont typeface="Arial" panose="020B0604020202020204" pitchFamily="34" charset="0"/>
              <a:buChar char="•"/>
              <a:defRPr sz="2400"/>
            </a:lvl3pPr>
            <a:lvl4pPr marL="2133547" indent="-304792">
              <a:buFont typeface="Courier New" panose="02070309020205020404" pitchFamily="49" charset="0"/>
              <a:buChar char="o"/>
              <a:defRPr sz="2133"/>
            </a:lvl4pPr>
            <a:lvl5pPr marL="2743131" indent="-304792">
              <a:buFont typeface="Arial" panose="020B0604020202020204" pitchFamily="34" charset="0"/>
              <a:buChar char="•"/>
              <a:defRPr sz="18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p:cNvSpPr/>
          <p:nvPr userDrawn="1"/>
        </p:nvSpPr>
        <p:spPr>
          <a:xfrm>
            <a:off x="0" y="5970229"/>
            <a:ext cx="12192000" cy="887771"/>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Logo, company name&#10;&#10;Description automatically generated">
            <a:extLst>
              <a:ext uri="{FF2B5EF4-FFF2-40B4-BE49-F238E27FC236}">
                <a16:creationId xmlns:a16="http://schemas.microsoft.com/office/drawing/2014/main" id="{EC43E23C-4620-4E6B-8219-F461268295B5}"/>
              </a:ext>
            </a:extLst>
          </p:cNvPr>
          <p:cNvPicPr>
            <a:picLocks noChangeAspect="1"/>
          </p:cNvPicPr>
          <p:nvPr userDrawn="1"/>
        </p:nvPicPr>
        <p:blipFill>
          <a:blip r:embed="rId3"/>
          <a:stretch>
            <a:fillRect/>
          </a:stretch>
        </p:blipFill>
        <p:spPr>
          <a:xfrm>
            <a:off x="241300" y="5060791"/>
            <a:ext cx="2667000" cy="2667000"/>
          </a:xfrm>
          <a:prstGeom prst="rect">
            <a:avLst/>
          </a:prstGeom>
        </p:spPr>
      </p:pic>
      <p:pic>
        <p:nvPicPr>
          <p:cNvPr id="15" name="Picture 14">
            <a:extLst>
              <a:ext uri="{FF2B5EF4-FFF2-40B4-BE49-F238E27FC236}">
                <a16:creationId xmlns:a16="http://schemas.microsoft.com/office/drawing/2014/main" id="{3BAC2093-7CA7-4484-A162-06E977B1AC42}"/>
              </a:ext>
            </a:extLst>
          </p:cNvPr>
          <p:cNvPicPr>
            <a:picLocks noChangeAspect="1"/>
          </p:cNvPicPr>
          <p:nvPr userDrawn="1"/>
        </p:nvPicPr>
        <p:blipFill>
          <a:blip r:embed="rId4"/>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11408732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08_Three Boxed Content_c">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5"/>
          <a:stretch>
            <a:fillRect/>
          </a:stretch>
        </p:blipFill>
        <p:spPr>
          <a:xfrm>
            <a:off x="-1" y="1"/>
            <a:ext cx="12192000" cy="2136041"/>
          </a:xfrm>
          <a:prstGeom prst="rect">
            <a:avLst/>
          </a:prstGeom>
        </p:spPr>
      </p:pic>
      <p:sp>
        <p:nvSpPr>
          <p:cNvPr id="14" name="Title 1"/>
          <p:cNvSpPr>
            <a:spLocks noGrp="1"/>
          </p:cNvSpPr>
          <p:nvPr>
            <p:ph type="title"/>
          </p:nvPr>
        </p:nvSpPr>
        <p:spPr>
          <a:xfrm>
            <a:off x="1261242" y="414859"/>
            <a:ext cx="9669516" cy="1290639"/>
          </a:xfrm>
        </p:spPr>
        <p:txBody>
          <a:bodyPr>
            <a:normAutofit/>
          </a:bodyPr>
          <a:lstStyle>
            <a:lvl1pPr algn="ctr">
              <a:defRPr sz="5067" baseline="0">
                <a:solidFill>
                  <a:schemeClr val="bg1"/>
                </a:solidFill>
                <a:latin typeface="Franklin Gothic Book"/>
              </a:defRPr>
            </a:lvl1pPr>
          </a:lstStyle>
          <a:p>
            <a:r>
              <a:rPr lang="en-US"/>
              <a:t>Click to edit Master title style</a:t>
            </a:r>
          </a:p>
        </p:txBody>
      </p:sp>
      <p:pic>
        <p:nvPicPr>
          <p:cNvPr id="18" name="Picture 17" descr="ThinShearedLines_BlueRedYellow.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61243" y="1723489"/>
            <a:ext cx="9669516" cy="114009"/>
          </a:xfrm>
          <a:prstGeom prst="rect">
            <a:avLst/>
          </a:prstGeom>
        </p:spPr>
      </p:pic>
      <p:sp>
        <p:nvSpPr>
          <p:cNvPr id="19" name="Text Placeholder 23"/>
          <p:cNvSpPr>
            <a:spLocks noGrp="1" noChangeAspect="1"/>
          </p:cNvSpPr>
          <p:nvPr>
            <p:ph type="body" sz="quarter" idx="13"/>
            <p:custDataLst>
              <p:tags r:id="rId1"/>
            </p:custDataLst>
          </p:nvPr>
        </p:nvSpPr>
        <p:spPr>
          <a:xfrm>
            <a:off x="165543" y="3053517"/>
            <a:ext cx="3657600" cy="2819931"/>
          </a:xfrm>
        </p:spPr>
        <p:txBody>
          <a:bodyPr>
            <a:normAutofit/>
          </a:bodyPr>
          <a:lstStyle>
            <a:lvl1pPr>
              <a:defRPr sz="2667">
                <a:latin typeface="Franklin Gothic Book" panose="020B0503020102020204" pitchFamily="34" charset="0"/>
              </a:defRPr>
            </a:lvl1pPr>
            <a:lvl2pPr marL="990551" indent="-380982">
              <a:buFont typeface="Courier New" panose="02070309020205020404" pitchFamily="49" charset="0"/>
              <a:buChar char="o"/>
              <a:defRPr sz="2400">
                <a:latin typeface="Franklin Gothic Book" panose="020B0503020102020204" pitchFamily="34" charset="0"/>
              </a:defRPr>
            </a:lvl2pPr>
            <a:lvl3pPr marL="1600121" indent="-380982">
              <a:buFont typeface="Courier New" panose="02070309020205020404" pitchFamily="49" charset="0"/>
              <a:buChar char="o"/>
              <a:defRPr sz="2133">
                <a:latin typeface="Franklin Gothic Book" panose="020B0503020102020204" pitchFamily="34" charset="0"/>
              </a:defRPr>
            </a:lvl3pPr>
          </a:lstStyle>
          <a:p>
            <a:pPr lvl="0"/>
            <a:r>
              <a:rPr lang="en-US"/>
              <a:t>Edit Master text styles</a:t>
            </a:r>
          </a:p>
          <a:p>
            <a:pPr lvl="1"/>
            <a:r>
              <a:rPr lang="en-US"/>
              <a:t>Second level</a:t>
            </a:r>
          </a:p>
          <a:p>
            <a:pPr lvl="2"/>
            <a:r>
              <a:rPr lang="en-US"/>
              <a:t>Third level</a:t>
            </a:r>
          </a:p>
        </p:txBody>
      </p:sp>
      <p:sp>
        <p:nvSpPr>
          <p:cNvPr id="20" name="Text Placeholder 23"/>
          <p:cNvSpPr>
            <a:spLocks noGrp="1" noChangeAspect="1"/>
          </p:cNvSpPr>
          <p:nvPr>
            <p:ph type="body" sz="quarter" idx="14"/>
            <p:custDataLst>
              <p:tags r:id="rId2"/>
            </p:custDataLst>
          </p:nvPr>
        </p:nvSpPr>
        <p:spPr>
          <a:xfrm>
            <a:off x="4299388" y="3053517"/>
            <a:ext cx="3657600" cy="2819931"/>
          </a:xfrm>
        </p:spPr>
        <p:txBody>
          <a:bodyPr>
            <a:normAutofit/>
          </a:bodyPr>
          <a:lstStyle>
            <a:lvl1pPr>
              <a:defRPr sz="2667">
                <a:latin typeface="Franklin Gothic Book" panose="020B0503020102020204" pitchFamily="34" charset="0"/>
              </a:defRPr>
            </a:lvl1pPr>
            <a:lvl2pPr marL="990551" indent="-380982">
              <a:buFont typeface="Courier New" panose="02070309020205020404" pitchFamily="49" charset="0"/>
              <a:buChar char="o"/>
              <a:defRPr sz="2400">
                <a:latin typeface="Franklin Gothic Book" panose="020B0503020102020204" pitchFamily="34" charset="0"/>
              </a:defRPr>
            </a:lvl2pPr>
            <a:lvl3pPr marL="1600121" indent="-380982">
              <a:buFont typeface="Courier New" panose="02070309020205020404" pitchFamily="49" charset="0"/>
              <a:buChar char="o"/>
              <a:defRPr sz="2133">
                <a:latin typeface="Franklin Gothic Book" panose="020B0503020102020204" pitchFamily="34" charset="0"/>
              </a:defRPr>
            </a:lvl3pPr>
          </a:lstStyle>
          <a:p>
            <a:pPr lvl="0"/>
            <a:r>
              <a:rPr lang="en-US"/>
              <a:t>Edit Master text styles</a:t>
            </a:r>
          </a:p>
          <a:p>
            <a:pPr lvl="1"/>
            <a:r>
              <a:rPr lang="en-US"/>
              <a:t>Second level</a:t>
            </a:r>
          </a:p>
          <a:p>
            <a:pPr lvl="2"/>
            <a:r>
              <a:rPr lang="en-US"/>
              <a:t>Third level</a:t>
            </a:r>
          </a:p>
        </p:txBody>
      </p:sp>
      <p:sp>
        <p:nvSpPr>
          <p:cNvPr id="21" name="Text Placeholder 23"/>
          <p:cNvSpPr>
            <a:spLocks noGrp="1" noChangeAspect="1"/>
          </p:cNvSpPr>
          <p:nvPr>
            <p:ph type="body" sz="quarter" idx="16"/>
            <p:custDataLst>
              <p:tags r:id="rId3"/>
            </p:custDataLst>
          </p:nvPr>
        </p:nvSpPr>
        <p:spPr>
          <a:xfrm>
            <a:off x="8385139" y="3053517"/>
            <a:ext cx="3657600" cy="2819931"/>
          </a:xfrm>
        </p:spPr>
        <p:txBody>
          <a:bodyPr>
            <a:normAutofit/>
          </a:bodyPr>
          <a:lstStyle>
            <a:lvl1pPr>
              <a:defRPr sz="2667">
                <a:latin typeface="Franklin Gothic Book" panose="020B0503020102020204" pitchFamily="34" charset="0"/>
              </a:defRPr>
            </a:lvl1pPr>
            <a:lvl2pPr marL="990551" indent="-380982">
              <a:buFont typeface="Courier New" panose="02070309020205020404" pitchFamily="49" charset="0"/>
              <a:buChar char="o"/>
              <a:defRPr sz="2400">
                <a:latin typeface="Franklin Gothic Book" panose="020B0503020102020204" pitchFamily="34" charset="0"/>
              </a:defRPr>
            </a:lvl2pPr>
            <a:lvl3pPr marL="1523923" indent="-304784">
              <a:buFont typeface="Courier New" panose="02070309020205020404" pitchFamily="49" charset="0"/>
              <a:buChar char="o"/>
              <a:defRPr sz="2133">
                <a:latin typeface="Franklin Gothic Book" panose="020B0503020102020204" pitchFamily="34" charset="0"/>
              </a:defRPr>
            </a:lvl3pPr>
          </a:lstStyle>
          <a:p>
            <a:pPr lvl="0"/>
            <a:r>
              <a:rPr lang="en-US"/>
              <a:t>Edit Master text styles</a:t>
            </a:r>
          </a:p>
          <a:p>
            <a:pPr lvl="1"/>
            <a:r>
              <a:rPr lang="en-US"/>
              <a:t>Second level</a:t>
            </a:r>
          </a:p>
          <a:p>
            <a:pPr lvl="2"/>
            <a:r>
              <a:rPr lang="en-US"/>
              <a:t>Third level</a:t>
            </a:r>
          </a:p>
        </p:txBody>
      </p:sp>
      <p:sp>
        <p:nvSpPr>
          <p:cNvPr id="22" name="Text Placeholder 9"/>
          <p:cNvSpPr>
            <a:spLocks noGrp="1" noChangeAspect="1"/>
          </p:cNvSpPr>
          <p:nvPr>
            <p:ph type="body" sz="quarter" idx="17"/>
          </p:nvPr>
        </p:nvSpPr>
        <p:spPr>
          <a:xfrm>
            <a:off x="463994" y="2296811"/>
            <a:ext cx="3060700" cy="673100"/>
          </a:xfrm>
          <a:solidFill>
            <a:schemeClr val="accent1"/>
          </a:solidFill>
        </p:spPr>
        <p:txBody>
          <a:bodyPr>
            <a:noAutofit/>
          </a:bodyPr>
          <a:lstStyle>
            <a:lvl1pPr marL="0" indent="0" algn="ctr">
              <a:buNone/>
              <a:defRPr sz="2667" b="1">
                <a:solidFill>
                  <a:schemeClr val="bg1"/>
                </a:solidFill>
                <a:latin typeface="Franklin Gothic Book" panose="020B0503020102020204" pitchFamily="34" charset="0"/>
              </a:defRPr>
            </a:lvl1pPr>
            <a:lvl5pPr marL="2438278" indent="0">
              <a:buNone/>
              <a:defRPr/>
            </a:lvl5pPr>
          </a:lstStyle>
          <a:p>
            <a:pPr lvl="0"/>
            <a:r>
              <a:rPr lang="en-US"/>
              <a:t>Edit Master text styles</a:t>
            </a:r>
          </a:p>
        </p:txBody>
      </p:sp>
      <p:sp>
        <p:nvSpPr>
          <p:cNvPr id="23" name="Text Placeholder 9"/>
          <p:cNvSpPr>
            <a:spLocks noGrp="1" noChangeAspect="1"/>
          </p:cNvSpPr>
          <p:nvPr>
            <p:ph type="body" sz="quarter" idx="18"/>
          </p:nvPr>
        </p:nvSpPr>
        <p:spPr>
          <a:xfrm>
            <a:off x="4597839" y="2296371"/>
            <a:ext cx="3060700" cy="673100"/>
          </a:xfrm>
          <a:solidFill>
            <a:schemeClr val="accent2"/>
          </a:solidFill>
        </p:spPr>
        <p:txBody>
          <a:bodyPr>
            <a:noAutofit/>
          </a:bodyPr>
          <a:lstStyle>
            <a:lvl1pPr marL="0" indent="0" algn="ctr">
              <a:buNone/>
              <a:defRPr sz="2667" b="1">
                <a:solidFill>
                  <a:schemeClr val="bg1"/>
                </a:solidFill>
                <a:latin typeface="Franklin Gothic Book" panose="020B0503020102020204" pitchFamily="34" charset="0"/>
              </a:defRPr>
            </a:lvl1pPr>
            <a:lvl5pPr marL="2438278" indent="0">
              <a:buNone/>
              <a:defRPr/>
            </a:lvl5pPr>
          </a:lstStyle>
          <a:p>
            <a:pPr lvl="0"/>
            <a:r>
              <a:rPr lang="en-US"/>
              <a:t>Edit Master text styles</a:t>
            </a:r>
          </a:p>
        </p:txBody>
      </p:sp>
      <p:sp>
        <p:nvSpPr>
          <p:cNvPr id="24" name="Text Placeholder 9"/>
          <p:cNvSpPr>
            <a:spLocks noGrp="1" noChangeAspect="1"/>
          </p:cNvSpPr>
          <p:nvPr>
            <p:ph type="body" sz="quarter" idx="19"/>
          </p:nvPr>
        </p:nvSpPr>
        <p:spPr>
          <a:xfrm>
            <a:off x="8683591" y="2296370"/>
            <a:ext cx="3060700" cy="673100"/>
          </a:xfrm>
          <a:solidFill>
            <a:schemeClr val="accent4"/>
          </a:solidFill>
        </p:spPr>
        <p:txBody>
          <a:bodyPr>
            <a:noAutofit/>
          </a:bodyPr>
          <a:lstStyle>
            <a:lvl1pPr marL="0" indent="0" algn="ctr">
              <a:buNone/>
              <a:defRPr sz="2667" b="1">
                <a:solidFill>
                  <a:schemeClr val="bg1"/>
                </a:solidFill>
                <a:latin typeface="Franklin Gothic Book" panose="020B0503020102020204" pitchFamily="34" charset="0"/>
              </a:defRPr>
            </a:lvl1pPr>
            <a:lvl5pPr marL="2438278" indent="0">
              <a:buNone/>
              <a:defRPr/>
            </a:lvl5pPr>
          </a:lstStyle>
          <a:p>
            <a:pPr lvl="0"/>
            <a:r>
              <a:rPr lang="en-US"/>
              <a:t>Edit Master text styles</a:t>
            </a:r>
          </a:p>
        </p:txBody>
      </p:sp>
      <p:sp>
        <p:nvSpPr>
          <p:cNvPr id="15" name="Rectangle 14"/>
          <p:cNvSpPr/>
          <p:nvPr userDrawn="1"/>
        </p:nvSpPr>
        <p:spPr>
          <a:xfrm>
            <a:off x="0" y="5970229"/>
            <a:ext cx="12192000" cy="887771"/>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7" name="Picture 16" descr="Logo, company name&#10;&#10;Description automatically generated">
            <a:extLst>
              <a:ext uri="{FF2B5EF4-FFF2-40B4-BE49-F238E27FC236}">
                <a16:creationId xmlns:a16="http://schemas.microsoft.com/office/drawing/2014/main" id="{7D3830E4-C904-4447-89D0-117D436F9885}"/>
              </a:ext>
            </a:extLst>
          </p:cNvPr>
          <p:cNvPicPr>
            <a:picLocks noChangeAspect="1"/>
          </p:cNvPicPr>
          <p:nvPr userDrawn="1"/>
        </p:nvPicPr>
        <p:blipFill>
          <a:blip r:embed="rId7"/>
          <a:stretch>
            <a:fillRect/>
          </a:stretch>
        </p:blipFill>
        <p:spPr>
          <a:xfrm>
            <a:off x="241300" y="5060791"/>
            <a:ext cx="2667000" cy="2667000"/>
          </a:xfrm>
          <a:prstGeom prst="rect">
            <a:avLst/>
          </a:prstGeom>
        </p:spPr>
      </p:pic>
      <p:pic>
        <p:nvPicPr>
          <p:cNvPr id="25" name="Picture 24">
            <a:extLst>
              <a:ext uri="{FF2B5EF4-FFF2-40B4-BE49-F238E27FC236}">
                <a16:creationId xmlns:a16="http://schemas.microsoft.com/office/drawing/2014/main" id="{1E5DB8AC-D27A-4CEF-9C38-1F0616D5D200}"/>
              </a:ext>
            </a:extLst>
          </p:cNvPr>
          <p:cNvPicPr>
            <a:picLocks noChangeAspect="1"/>
          </p:cNvPicPr>
          <p:nvPr userDrawn="1"/>
        </p:nvPicPr>
        <p:blipFill>
          <a:blip r:embed="rId8"/>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24675067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09_Transition Slide and Content_c">
    <p:spTree>
      <p:nvGrpSpPr>
        <p:cNvPr id="1" name=""/>
        <p:cNvGrpSpPr/>
        <p:nvPr/>
      </p:nvGrpSpPr>
      <p:grpSpPr>
        <a:xfrm>
          <a:off x="0" y="0"/>
          <a:ext cx="0" cy="0"/>
          <a:chOff x="0" y="0"/>
          <a:chExt cx="0" cy="0"/>
        </a:xfrm>
      </p:grpSpPr>
      <p:sp>
        <p:nvSpPr>
          <p:cNvPr id="12" name="Content Placeholder 3"/>
          <p:cNvSpPr>
            <a:spLocks noGrp="1"/>
          </p:cNvSpPr>
          <p:nvPr>
            <p:ph sz="quarter" idx="17"/>
          </p:nvPr>
        </p:nvSpPr>
        <p:spPr>
          <a:xfrm>
            <a:off x="7146375" y="278851"/>
            <a:ext cx="4567767" cy="5113400"/>
          </a:xfrm>
        </p:spPr>
        <p:txBody>
          <a:bodyPr>
            <a:normAutofit/>
          </a:bodyPr>
          <a:lstStyle>
            <a:lvl1pPr>
              <a:defRPr sz="3200">
                <a:latin typeface="Franklin Gothic Book" panose="020B0503020102020204" pitchFamily="34" charset="0"/>
              </a:defRPr>
            </a:lvl1pPr>
            <a:lvl2pPr marL="990551" indent="-380982">
              <a:buFont typeface="Arial" panose="020B0604020202020204" pitchFamily="34" charset="0"/>
              <a:buChar char="•"/>
              <a:defRPr sz="2400"/>
            </a:lvl2pPr>
          </a:lstStyle>
          <a:p>
            <a:pPr lvl="0"/>
            <a:r>
              <a:rPr lang="en-US"/>
              <a:t>Edit Master text styles</a:t>
            </a:r>
          </a:p>
          <a:p>
            <a:pPr lvl="1"/>
            <a:r>
              <a:rPr lang="en-US"/>
              <a:t>Second level</a:t>
            </a:r>
          </a:p>
        </p:txBody>
      </p:sp>
      <p:pic>
        <p:nvPicPr>
          <p:cNvPr id="13" name="Picture 12" descr="ThinShearedLines_BlueRedYellow.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flipV="1">
            <a:off x="817033" y="3826478"/>
            <a:ext cx="6096000" cy="105977"/>
          </a:xfrm>
          <a:prstGeom prst="rect">
            <a:avLst/>
          </a:prstGeom>
        </p:spPr>
      </p:pic>
      <p:sp>
        <p:nvSpPr>
          <p:cNvPr id="19" name="Title 1"/>
          <p:cNvSpPr>
            <a:spLocks noGrp="1" noChangeAspect="1"/>
          </p:cNvSpPr>
          <p:nvPr>
            <p:ph type="title"/>
          </p:nvPr>
        </p:nvSpPr>
        <p:spPr>
          <a:xfrm>
            <a:off x="817033" y="2214881"/>
            <a:ext cx="6096000" cy="1537823"/>
          </a:xfrm>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20" name="Text Placeholder 1"/>
          <p:cNvSpPr>
            <a:spLocks noGrp="1" noChangeAspect="1"/>
          </p:cNvSpPr>
          <p:nvPr>
            <p:ph type="body" sz="quarter" idx="14"/>
            <p:custDataLst>
              <p:tags r:id="rId1"/>
            </p:custDataLst>
          </p:nvPr>
        </p:nvSpPr>
        <p:spPr>
          <a:xfrm>
            <a:off x="817033" y="4650614"/>
            <a:ext cx="6096000" cy="741637"/>
          </a:xfrm>
        </p:spPr>
        <p:txBody>
          <a:bodyPr>
            <a:normAutofit/>
          </a:bodyPr>
          <a:lstStyle>
            <a:lvl1pPr marL="0" indent="0">
              <a:buNone/>
              <a:defRPr sz="2933">
                <a:latin typeface="Franklin Gothic Book" panose="020B0503020102020204" pitchFamily="34" charset="0"/>
              </a:defRPr>
            </a:lvl1pPr>
          </a:lstStyle>
          <a:p>
            <a:endParaRPr lang="en-US"/>
          </a:p>
        </p:txBody>
      </p:sp>
      <p:sp>
        <p:nvSpPr>
          <p:cNvPr id="21" name="Text Placeholder 2"/>
          <p:cNvSpPr>
            <a:spLocks noGrp="1" noChangeAspect="1"/>
          </p:cNvSpPr>
          <p:nvPr>
            <p:ph type="body" sz="quarter" idx="16"/>
            <p:custDataLst>
              <p:tags r:id="rId2"/>
            </p:custDataLst>
          </p:nvPr>
        </p:nvSpPr>
        <p:spPr>
          <a:xfrm>
            <a:off x="817033" y="4011322"/>
            <a:ext cx="6096000" cy="565517"/>
          </a:xfrm>
        </p:spPr>
        <p:txBody>
          <a:bodyPr>
            <a:noAutofit/>
          </a:bodyPr>
          <a:lstStyle>
            <a:lvl1pPr marL="0" indent="0">
              <a:buNone/>
              <a:defRPr sz="2933">
                <a:latin typeface="Franklin Gothic Book" panose="020B0503020102020204" pitchFamily="34" charset="0"/>
              </a:defRPr>
            </a:lvl1pPr>
          </a:lstStyle>
          <a:p>
            <a:endParaRPr lang="en-US"/>
          </a:p>
        </p:txBody>
      </p:sp>
      <p:sp>
        <p:nvSpPr>
          <p:cNvPr id="18" name="Rectangle 17"/>
          <p:cNvSpPr/>
          <p:nvPr userDrawn="1"/>
        </p:nvSpPr>
        <p:spPr>
          <a:xfrm>
            <a:off x="0" y="5970229"/>
            <a:ext cx="12192000" cy="887771"/>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1" name="Picture 10" descr="Logo, company name&#10;&#10;Description automatically generated">
            <a:extLst>
              <a:ext uri="{FF2B5EF4-FFF2-40B4-BE49-F238E27FC236}">
                <a16:creationId xmlns:a16="http://schemas.microsoft.com/office/drawing/2014/main" id="{61C8C3D2-2C40-45C7-AAC5-B9DFDE34729C}"/>
              </a:ext>
            </a:extLst>
          </p:cNvPr>
          <p:cNvPicPr>
            <a:picLocks noChangeAspect="1"/>
          </p:cNvPicPr>
          <p:nvPr userDrawn="1"/>
        </p:nvPicPr>
        <p:blipFill>
          <a:blip r:embed="rId5"/>
          <a:stretch>
            <a:fillRect/>
          </a:stretch>
        </p:blipFill>
        <p:spPr>
          <a:xfrm>
            <a:off x="241300" y="5060791"/>
            <a:ext cx="2667000" cy="2667000"/>
          </a:xfrm>
          <a:prstGeom prst="rect">
            <a:avLst/>
          </a:prstGeom>
        </p:spPr>
      </p:pic>
      <p:pic>
        <p:nvPicPr>
          <p:cNvPr id="14" name="Picture 13">
            <a:extLst>
              <a:ext uri="{FF2B5EF4-FFF2-40B4-BE49-F238E27FC236}">
                <a16:creationId xmlns:a16="http://schemas.microsoft.com/office/drawing/2014/main" id="{A29BD1C8-2AE2-494F-A4E9-E54A2DFDE3BC}"/>
              </a:ext>
            </a:extLst>
          </p:cNvPr>
          <p:cNvPicPr>
            <a:picLocks noChangeAspect="1"/>
          </p:cNvPicPr>
          <p:nvPr userDrawn="1"/>
        </p:nvPicPr>
        <p:blipFill>
          <a:blip r:embed="rId6"/>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262641743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0_Single Content Banner_c">
    <p:spTree>
      <p:nvGrpSpPr>
        <p:cNvPr id="1" name=""/>
        <p:cNvGrpSpPr/>
        <p:nvPr/>
      </p:nvGrpSpPr>
      <p:grpSpPr>
        <a:xfrm>
          <a:off x="0" y="0"/>
          <a:ext cx="0" cy="0"/>
          <a:chOff x="0" y="0"/>
          <a:chExt cx="0" cy="0"/>
        </a:xfrm>
      </p:grpSpPr>
      <p:sp>
        <p:nvSpPr>
          <p:cNvPr id="11" name="Rectangle 10"/>
          <p:cNvSpPr/>
          <p:nvPr userDrawn="1"/>
        </p:nvSpPr>
        <p:spPr>
          <a:xfrm>
            <a:off x="0" y="5970229"/>
            <a:ext cx="12192000" cy="887771"/>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7" name="Picture 16" descr="HeaderBar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490848"/>
            <a:ext cx="12192000" cy="585216"/>
          </a:xfrm>
          <a:prstGeom prst="rect">
            <a:avLst/>
          </a:prstGeom>
        </p:spPr>
      </p:pic>
      <p:sp>
        <p:nvSpPr>
          <p:cNvPr id="14" name="Title 1"/>
          <p:cNvSpPr>
            <a:spLocks noGrp="1"/>
          </p:cNvSpPr>
          <p:nvPr>
            <p:ph type="title"/>
          </p:nvPr>
        </p:nvSpPr>
        <p:spPr>
          <a:xfrm>
            <a:off x="1651000" y="1064683"/>
            <a:ext cx="9144000" cy="1290639"/>
          </a:xfrm>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15" name="Content Placeholder 2"/>
          <p:cNvSpPr>
            <a:spLocks noGrp="1"/>
          </p:cNvSpPr>
          <p:nvPr>
            <p:ph idx="1"/>
          </p:nvPr>
        </p:nvSpPr>
        <p:spPr>
          <a:xfrm>
            <a:off x="1651000" y="2613959"/>
            <a:ext cx="9144000" cy="2241551"/>
          </a:xfrm>
        </p:spPr>
        <p:txBody>
          <a:bodyPr>
            <a:normAutofit/>
          </a:bodyPr>
          <a:lstStyle>
            <a:lvl1pPr marL="0" indent="0">
              <a:spcBef>
                <a:spcPts val="0"/>
              </a:spcBef>
              <a:buFontTx/>
              <a:buNone/>
              <a:defRPr sz="2933" baseline="0">
                <a:solidFill>
                  <a:schemeClr val="tx1"/>
                </a:solidFill>
                <a:latin typeface="Franklin Gothic Book"/>
              </a:defRPr>
            </a:lvl1pPr>
            <a:lvl2pPr marL="0" indent="0">
              <a:spcBef>
                <a:spcPts val="0"/>
              </a:spcBef>
              <a:buFontTx/>
              <a:buNone/>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0" indent="0">
              <a:spcBef>
                <a:spcPts val="0"/>
              </a:spcBef>
              <a:buFontTx/>
              <a:buNone/>
              <a:defRPr sz="2933"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pic>
        <p:nvPicPr>
          <p:cNvPr id="9" name="Picture 8" descr="Logo, company name&#10;&#10;Description automatically generated">
            <a:extLst>
              <a:ext uri="{FF2B5EF4-FFF2-40B4-BE49-F238E27FC236}">
                <a16:creationId xmlns:a16="http://schemas.microsoft.com/office/drawing/2014/main" id="{2A47346D-1B34-48D2-8DAC-9FF8B82FC9E4}"/>
              </a:ext>
            </a:extLst>
          </p:cNvPr>
          <p:cNvPicPr>
            <a:picLocks noChangeAspect="1"/>
          </p:cNvPicPr>
          <p:nvPr userDrawn="1"/>
        </p:nvPicPr>
        <p:blipFill>
          <a:blip r:embed="rId3"/>
          <a:stretch>
            <a:fillRect/>
          </a:stretch>
        </p:blipFill>
        <p:spPr>
          <a:xfrm>
            <a:off x="241300" y="5060791"/>
            <a:ext cx="2667000" cy="2667000"/>
          </a:xfrm>
          <a:prstGeom prst="rect">
            <a:avLst/>
          </a:prstGeom>
        </p:spPr>
      </p:pic>
      <p:pic>
        <p:nvPicPr>
          <p:cNvPr id="10" name="Picture 9">
            <a:extLst>
              <a:ext uri="{FF2B5EF4-FFF2-40B4-BE49-F238E27FC236}">
                <a16:creationId xmlns:a16="http://schemas.microsoft.com/office/drawing/2014/main" id="{921349BC-8301-489F-B889-BD8BE5928339}"/>
              </a:ext>
            </a:extLst>
          </p:cNvPr>
          <p:cNvPicPr>
            <a:picLocks noChangeAspect="1"/>
          </p:cNvPicPr>
          <p:nvPr userDrawn="1"/>
        </p:nvPicPr>
        <p:blipFill>
          <a:blip r:embed="rId4"/>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37114962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2 - GREEN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11" name="Text Placeholder 10">
            <a:extLst>
              <a:ext uri="{FF2B5EF4-FFF2-40B4-BE49-F238E27FC236}">
                <a16:creationId xmlns:a16="http://schemas.microsoft.com/office/drawing/2014/main" id="{ACF43B73-9E31-6EB9-4037-8A6C367AED3F}"/>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38140344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11_Single Content_c">
    <p:spTree>
      <p:nvGrpSpPr>
        <p:cNvPr id="1" name=""/>
        <p:cNvGrpSpPr/>
        <p:nvPr/>
      </p:nvGrpSpPr>
      <p:grpSpPr>
        <a:xfrm>
          <a:off x="0" y="0"/>
          <a:ext cx="0" cy="0"/>
          <a:chOff x="0" y="0"/>
          <a:chExt cx="0" cy="0"/>
        </a:xfrm>
      </p:grpSpPr>
      <p:sp>
        <p:nvSpPr>
          <p:cNvPr id="2" name="Title 1"/>
          <p:cNvSpPr>
            <a:spLocks noGrp="1"/>
          </p:cNvSpPr>
          <p:nvPr>
            <p:ph type="title"/>
          </p:nvPr>
        </p:nvSpPr>
        <p:spPr>
          <a:xfrm>
            <a:off x="1651000" y="1064683"/>
            <a:ext cx="9144000" cy="1290639"/>
          </a:xfrm>
        </p:spPr>
        <p:txBody>
          <a:bodyPr>
            <a:normAutofit/>
          </a:bodyPr>
          <a:lstStyle>
            <a:lvl1pPr algn="l">
              <a:defRPr sz="5067" baseline="0">
                <a:solidFill>
                  <a:schemeClr val="accent2"/>
                </a:solidFill>
                <a:latin typeface="Franklin Gothic Book"/>
              </a:defRPr>
            </a:lvl1pPr>
          </a:lstStyle>
          <a:p>
            <a:r>
              <a:rPr lang="en-US"/>
              <a:t>Click to edit Master title style</a:t>
            </a:r>
          </a:p>
        </p:txBody>
      </p:sp>
      <p:sp>
        <p:nvSpPr>
          <p:cNvPr id="3" name="Content Placeholder 2"/>
          <p:cNvSpPr>
            <a:spLocks noGrp="1"/>
          </p:cNvSpPr>
          <p:nvPr>
            <p:ph idx="1"/>
          </p:nvPr>
        </p:nvSpPr>
        <p:spPr>
          <a:xfrm>
            <a:off x="1651000" y="2613959"/>
            <a:ext cx="9144000" cy="2241551"/>
          </a:xfrm>
        </p:spPr>
        <p:txBody>
          <a:bodyPr>
            <a:normAutofit/>
          </a:bodyPr>
          <a:lstStyle>
            <a:lvl1pPr marL="0" indent="0">
              <a:spcBef>
                <a:spcPts val="0"/>
              </a:spcBef>
              <a:buFontTx/>
              <a:buNone/>
              <a:defRPr sz="2933" baseline="0">
                <a:solidFill>
                  <a:schemeClr val="tx1"/>
                </a:solidFill>
                <a:latin typeface="Franklin Gothic Book"/>
              </a:defRPr>
            </a:lvl1pPr>
            <a:lvl2pPr marL="0" indent="0">
              <a:spcBef>
                <a:spcPts val="0"/>
              </a:spcBef>
              <a:buFontTx/>
              <a:buNone/>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0" indent="0">
              <a:spcBef>
                <a:spcPts val="0"/>
              </a:spcBef>
              <a:buFontTx/>
              <a:buNone/>
              <a:defRPr sz="2933"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sp>
        <p:nvSpPr>
          <p:cNvPr id="10" name="Rectangle 9"/>
          <p:cNvSpPr/>
          <p:nvPr userDrawn="1"/>
        </p:nvSpPr>
        <p:spPr>
          <a:xfrm>
            <a:off x="0" y="5970229"/>
            <a:ext cx="12192000" cy="887771"/>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8" name="Picture 7" descr="Logo, company name&#10;&#10;Description automatically generated">
            <a:extLst>
              <a:ext uri="{FF2B5EF4-FFF2-40B4-BE49-F238E27FC236}">
                <a16:creationId xmlns:a16="http://schemas.microsoft.com/office/drawing/2014/main" id="{687C38D6-A417-4865-A361-640173680DA7}"/>
              </a:ext>
            </a:extLst>
          </p:cNvPr>
          <p:cNvPicPr>
            <a:picLocks noChangeAspect="1"/>
          </p:cNvPicPr>
          <p:nvPr userDrawn="1"/>
        </p:nvPicPr>
        <p:blipFill>
          <a:blip r:embed="rId2"/>
          <a:stretch>
            <a:fillRect/>
          </a:stretch>
        </p:blipFill>
        <p:spPr>
          <a:xfrm>
            <a:off x="241300" y="5060791"/>
            <a:ext cx="2667000" cy="2667000"/>
          </a:xfrm>
          <a:prstGeom prst="rect">
            <a:avLst/>
          </a:prstGeom>
        </p:spPr>
      </p:pic>
      <p:pic>
        <p:nvPicPr>
          <p:cNvPr id="9" name="Picture 8">
            <a:extLst>
              <a:ext uri="{FF2B5EF4-FFF2-40B4-BE49-F238E27FC236}">
                <a16:creationId xmlns:a16="http://schemas.microsoft.com/office/drawing/2014/main" id="{42F49609-985C-4F65-AA7B-2452F1E0169B}"/>
              </a:ext>
            </a:extLst>
          </p:cNvPr>
          <p:cNvPicPr>
            <a:picLocks noChangeAspect="1"/>
          </p:cNvPicPr>
          <p:nvPr userDrawn="1"/>
        </p:nvPicPr>
        <p:blipFill>
          <a:blip r:embed="rId3"/>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9070628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2_Double Content_c">
    <p:spTree>
      <p:nvGrpSpPr>
        <p:cNvPr id="1" name=""/>
        <p:cNvGrpSpPr/>
        <p:nvPr/>
      </p:nvGrpSpPr>
      <p:grpSpPr>
        <a:xfrm>
          <a:off x="0" y="0"/>
          <a:ext cx="0" cy="0"/>
          <a:chOff x="0" y="0"/>
          <a:chExt cx="0" cy="0"/>
        </a:xfrm>
      </p:grpSpPr>
      <p:sp>
        <p:nvSpPr>
          <p:cNvPr id="16" name="Title 1"/>
          <p:cNvSpPr>
            <a:spLocks noGrp="1"/>
          </p:cNvSpPr>
          <p:nvPr>
            <p:ph type="title"/>
          </p:nvPr>
        </p:nvSpPr>
        <p:spPr>
          <a:xfrm>
            <a:off x="1524000" y="458410"/>
            <a:ext cx="9144000" cy="1085911"/>
          </a:xfrm>
        </p:spPr>
        <p:txBody>
          <a:bodyPr>
            <a:normAutofit/>
          </a:bodyPr>
          <a:lstStyle>
            <a:lvl1pPr algn="ctr">
              <a:defRPr sz="5067" baseline="0">
                <a:solidFill>
                  <a:srgbClr val="D9531E"/>
                </a:solidFill>
                <a:latin typeface="Franklin Gothic Book"/>
              </a:defRPr>
            </a:lvl1pPr>
          </a:lstStyle>
          <a:p>
            <a:r>
              <a:rPr lang="en-US"/>
              <a:t>Click to edit Master title style</a:t>
            </a:r>
          </a:p>
        </p:txBody>
      </p:sp>
      <p:sp>
        <p:nvSpPr>
          <p:cNvPr id="18" name="Content Placeholder 2"/>
          <p:cNvSpPr>
            <a:spLocks noGrp="1"/>
          </p:cNvSpPr>
          <p:nvPr>
            <p:ph idx="10"/>
          </p:nvPr>
        </p:nvSpPr>
        <p:spPr>
          <a:xfrm>
            <a:off x="1524000" y="1663911"/>
            <a:ext cx="4453467" cy="3913931"/>
          </a:xfrm>
        </p:spPr>
        <p:txBody>
          <a:bodyPr>
            <a:normAutofit/>
          </a:bodyPr>
          <a:lstStyle>
            <a:lvl1pPr marL="0" indent="0">
              <a:spcBef>
                <a:spcPts val="0"/>
              </a:spcBef>
              <a:buFontTx/>
              <a:buNone/>
              <a:defRPr sz="2933" baseline="0">
                <a:solidFill>
                  <a:schemeClr val="tx1"/>
                </a:solidFill>
                <a:latin typeface="Franklin Gothic Book"/>
              </a:defRPr>
            </a:lvl1pPr>
            <a:lvl2pPr marL="0" indent="0">
              <a:spcBef>
                <a:spcPts val="0"/>
              </a:spcBef>
              <a:buFontTx/>
              <a:buNone/>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0" indent="0">
              <a:spcBef>
                <a:spcPts val="0"/>
              </a:spcBef>
              <a:buFontTx/>
              <a:buNone/>
              <a:defRPr sz="2933"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sp>
        <p:nvSpPr>
          <p:cNvPr id="19" name="Content Placeholder 2"/>
          <p:cNvSpPr>
            <a:spLocks noGrp="1"/>
          </p:cNvSpPr>
          <p:nvPr>
            <p:ph idx="11"/>
          </p:nvPr>
        </p:nvSpPr>
        <p:spPr>
          <a:xfrm>
            <a:off x="6214533" y="1663911"/>
            <a:ext cx="4453467" cy="3913931"/>
          </a:xfrm>
        </p:spPr>
        <p:txBody>
          <a:bodyPr>
            <a:normAutofit/>
          </a:bodyPr>
          <a:lstStyle>
            <a:lvl1pPr marL="0" indent="0">
              <a:spcBef>
                <a:spcPts val="0"/>
              </a:spcBef>
              <a:buFontTx/>
              <a:buNone/>
              <a:defRPr sz="2933" baseline="0">
                <a:solidFill>
                  <a:schemeClr val="tx1"/>
                </a:solidFill>
                <a:latin typeface="Franklin Gothic Book"/>
              </a:defRPr>
            </a:lvl1pPr>
            <a:lvl2pPr marL="0" indent="0">
              <a:spcBef>
                <a:spcPts val="0"/>
              </a:spcBef>
              <a:buFontTx/>
              <a:buNone/>
              <a:defRPr sz="2933" baseline="0">
                <a:solidFill>
                  <a:schemeClr val="tx1"/>
                </a:solidFill>
                <a:latin typeface="Franklin Gothic Book"/>
              </a:defRPr>
            </a:lvl2pPr>
            <a:lvl3pPr marL="0" indent="0">
              <a:spcBef>
                <a:spcPts val="0"/>
              </a:spcBef>
              <a:buFontTx/>
              <a:buNone/>
              <a:defRPr sz="2933" baseline="0">
                <a:solidFill>
                  <a:schemeClr val="tx1"/>
                </a:solidFill>
                <a:latin typeface="Franklin Gothic Book"/>
              </a:defRPr>
            </a:lvl3pPr>
            <a:lvl4pPr marL="0" indent="0">
              <a:spcBef>
                <a:spcPts val="0"/>
              </a:spcBef>
              <a:buFontTx/>
              <a:buNone/>
              <a:defRPr sz="2933" baseline="0">
                <a:solidFill>
                  <a:schemeClr val="tx1"/>
                </a:solidFill>
                <a:latin typeface="Franklin Gothic Book"/>
              </a:defRPr>
            </a:lvl4pPr>
            <a:lvl5pPr marL="0" indent="0">
              <a:spcBef>
                <a:spcPts val="0"/>
              </a:spcBef>
              <a:buFontTx/>
              <a:buNone/>
              <a:defRPr sz="2933" baseline="0">
                <a:solidFill>
                  <a:schemeClr val="tx1"/>
                </a:solidFill>
                <a:latin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pic>
        <p:nvPicPr>
          <p:cNvPr id="20" name="Picture 19" descr="ThinShearedLines_BlueRedYello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933"/>
            <a:ext cx="12192000" cy="105664"/>
          </a:xfrm>
          <a:prstGeom prst="rect">
            <a:avLst/>
          </a:prstGeom>
        </p:spPr>
      </p:pic>
      <p:sp>
        <p:nvSpPr>
          <p:cNvPr id="11" name="Rectangle 10"/>
          <p:cNvSpPr/>
          <p:nvPr userDrawn="1"/>
        </p:nvSpPr>
        <p:spPr>
          <a:xfrm>
            <a:off x="0" y="5970229"/>
            <a:ext cx="12192000" cy="887771"/>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Logo, company name&#10;&#10;Description automatically generated">
            <a:extLst>
              <a:ext uri="{FF2B5EF4-FFF2-40B4-BE49-F238E27FC236}">
                <a16:creationId xmlns:a16="http://schemas.microsoft.com/office/drawing/2014/main" id="{B63DDADE-3208-41FB-959E-2697CD475326}"/>
              </a:ext>
            </a:extLst>
          </p:cNvPr>
          <p:cNvPicPr>
            <a:picLocks noChangeAspect="1"/>
          </p:cNvPicPr>
          <p:nvPr userDrawn="1"/>
        </p:nvPicPr>
        <p:blipFill>
          <a:blip r:embed="rId3"/>
          <a:stretch>
            <a:fillRect/>
          </a:stretch>
        </p:blipFill>
        <p:spPr>
          <a:xfrm>
            <a:off x="241300" y="5060791"/>
            <a:ext cx="2667000" cy="2667000"/>
          </a:xfrm>
          <a:prstGeom prst="rect">
            <a:avLst/>
          </a:prstGeom>
        </p:spPr>
      </p:pic>
      <p:pic>
        <p:nvPicPr>
          <p:cNvPr id="12" name="Picture 11">
            <a:extLst>
              <a:ext uri="{FF2B5EF4-FFF2-40B4-BE49-F238E27FC236}">
                <a16:creationId xmlns:a16="http://schemas.microsoft.com/office/drawing/2014/main" id="{3780F314-9C53-4A83-88BC-C36CAA69BEA4}"/>
              </a:ext>
            </a:extLst>
          </p:cNvPr>
          <p:cNvPicPr>
            <a:picLocks noChangeAspect="1"/>
          </p:cNvPicPr>
          <p:nvPr userDrawn="1"/>
        </p:nvPicPr>
        <p:blipFill>
          <a:blip r:embed="rId4"/>
          <a:stretch>
            <a:fillRect/>
          </a:stretch>
        </p:blipFill>
        <p:spPr>
          <a:xfrm>
            <a:off x="4817331" y="6126527"/>
            <a:ext cx="9832899" cy="535528"/>
          </a:xfrm>
          <a:prstGeom prst="rect">
            <a:avLst/>
          </a:prstGeom>
        </p:spPr>
      </p:pic>
    </p:spTree>
    <p:extLst>
      <p:ext uri="{BB962C8B-B14F-4D97-AF65-F5344CB8AC3E}">
        <p14:creationId xmlns:p14="http://schemas.microsoft.com/office/powerpoint/2010/main" val="168918178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6888785-EC3E-A5BE-D00E-9028277E4AEB}"/>
              </a:ext>
            </a:extLst>
          </p:cNvPr>
          <p:cNvSpPr>
            <a:spLocks noGrp="1"/>
          </p:cNvSpPr>
          <p:nvPr>
            <p:ph type="ctrTitle"/>
          </p:nvPr>
        </p:nvSpPr>
        <p:spPr>
          <a:xfrm>
            <a:off x="391160" y="1153160"/>
            <a:ext cx="6082665" cy="1384995"/>
          </a:xfrm>
        </p:spPr>
        <p:txBody>
          <a:bodyPr wrap="square" anchor="t">
            <a:spAutoFit/>
          </a:bodyPr>
          <a:lstStyle>
            <a:lvl1pPr algn="l">
              <a:defRPr sz="5000" b="0">
                <a:solidFill>
                  <a:schemeClr val="bg1"/>
                </a:solidFill>
              </a:defRPr>
            </a:lvl1pPr>
          </a:lstStyle>
          <a:p>
            <a:r>
              <a:rPr lang="en-GB"/>
              <a:t>Click to edit Master title style</a:t>
            </a:r>
          </a:p>
        </p:txBody>
      </p:sp>
      <p:sp>
        <p:nvSpPr>
          <p:cNvPr id="8" name="Subtitle 2">
            <a:extLst>
              <a:ext uri="{FF2B5EF4-FFF2-40B4-BE49-F238E27FC236}">
                <a16:creationId xmlns:a16="http://schemas.microsoft.com/office/drawing/2014/main" id="{4402D0C0-921D-9829-ADCB-E1FB0EE0FA9B}"/>
              </a:ext>
            </a:extLst>
          </p:cNvPr>
          <p:cNvSpPr>
            <a:spLocks noGrp="1"/>
          </p:cNvSpPr>
          <p:nvPr>
            <p:ph type="subTitle" idx="1"/>
          </p:nvPr>
        </p:nvSpPr>
        <p:spPr>
          <a:xfrm>
            <a:off x="391160" y="3060005"/>
            <a:ext cx="4180840" cy="1127820"/>
          </a:xfrm>
        </p:spPr>
        <p:txBody>
          <a:bodyPr>
            <a:normAutofit/>
          </a:bodyPr>
          <a:lstStyle>
            <a:lvl1pPr marL="0" indent="0" algn="l">
              <a:spcBef>
                <a:spcPts val="0"/>
              </a:spcBef>
              <a:spcAft>
                <a:spcPts val="400"/>
              </a:spcAft>
              <a:buNone/>
              <a:defRPr sz="1600">
                <a:solidFill>
                  <a:schemeClr val="bg1"/>
                </a:solidFill>
              </a:defRPr>
            </a:lvl1pPr>
            <a:lvl2pPr marL="0" indent="0" algn="l">
              <a:buNone/>
              <a:defRPr sz="120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a:p>
            <a:pPr lvl="1"/>
            <a:r>
              <a:rPr lang="en-US"/>
              <a:t>Presenter Title</a:t>
            </a:r>
            <a:endParaRPr lang="en-GB"/>
          </a:p>
        </p:txBody>
      </p:sp>
      <p:grpSp>
        <p:nvGrpSpPr>
          <p:cNvPr id="11" name="Group 10">
            <a:extLst>
              <a:ext uri="{FF2B5EF4-FFF2-40B4-BE49-F238E27FC236}">
                <a16:creationId xmlns:a16="http://schemas.microsoft.com/office/drawing/2014/main" id="{8961206D-C794-1EED-77FD-47B728E621EF}"/>
              </a:ext>
            </a:extLst>
          </p:cNvPr>
          <p:cNvGrpSpPr/>
          <p:nvPr userDrawn="1"/>
        </p:nvGrpSpPr>
        <p:grpSpPr>
          <a:xfrm>
            <a:off x="-210" y="6000968"/>
            <a:ext cx="867102" cy="859405"/>
            <a:chOff x="-210" y="6000968"/>
            <a:chExt cx="867102" cy="859405"/>
          </a:xfrm>
        </p:grpSpPr>
        <p:sp>
          <p:nvSpPr>
            <p:cNvPr id="12" name="Freeform 11">
              <a:extLst>
                <a:ext uri="{FF2B5EF4-FFF2-40B4-BE49-F238E27FC236}">
                  <a16:creationId xmlns:a16="http://schemas.microsoft.com/office/drawing/2014/main" id="{F75A63A6-CAF7-0CFD-FC87-2334DD16758A}"/>
                </a:ext>
              </a:extLst>
            </p:cNvPr>
            <p:cNvSpPr/>
            <p:nvPr userDrawn="1"/>
          </p:nvSpPr>
          <p:spPr>
            <a:xfrm>
              <a:off x="-3" y="6427626"/>
              <a:ext cx="45201" cy="85186"/>
            </a:xfrm>
            <a:custGeom>
              <a:avLst/>
              <a:gdLst>
                <a:gd name="connsiteX0" fmla="*/ -51 w 37961"/>
                <a:gd name="connsiteY0" fmla="*/ -30 h 71541"/>
                <a:gd name="connsiteX1" fmla="*/ -51 w 37961"/>
                <a:gd name="connsiteY1" fmla="*/ 71512 h 71541"/>
                <a:gd name="connsiteX2" fmla="*/ 37910 w 37961"/>
                <a:gd name="connsiteY2" fmla="*/ 44109 h 71541"/>
              </a:gdLst>
              <a:ahLst/>
              <a:cxnLst>
                <a:cxn ang="0">
                  <a:pos x="connsiteX0" y="connsiteY0"/>
                </a:cxn>
                <a:cxn ang="0">
                  <a:pos x="connsiteX1" y="connsiteY1"/>
                </a:cxn>
                <a:cxn ang="0">
                  <a:pos x="connsiteX2" y="connsiteY2"/>
                </a:cxn>
              </a:cxnLst>
              <a:rect l="l" t="t" r="r" b="b"/>
              <a:pathLst>
                <a:path w="37961" h="71541">
                  <a:moveTo>
                    <a:pt x="-51" y="-30"/>
                  </a:moveTo>
                  <a:lnTo>
                    <a:pt x="-51" y="71512"/>
                  </a:lnTo>
                  <a:cubicBezTo>
                    <a:pt x="13073" y="63043"/>
                    <a:pt x="25744" y="53896"/>
                    <a:pt x="37910" y="44109"/>
                  </a:cubicBezTo>
                  <a:close/>
                </a:path>
              </a:pathLst>
            </a:custGeom>
            <a:solidFill>
              <a:schemeClr val="bg1"/>
            </a:solidFill>
            <a:ln w="10319"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BA8D23E0-204A-55E6-D958-FC453A85EE76}"/>
                </a:ext>
              </a:extLst>
            </p:cNvPr>
            <p:cNvSpPr/>
            <p:nvPr userDrawn="1"/>
          </p:nvSpPr>
          <p:spPr>
            <a:xfrm>
              <a:off x="-3" y="6000968"/>
              <a:ext cx="866895" cy="859405"/>
            </a:xfrm>
            <a:custGeom>
              <a:avLst/>
              <a:gdLst>
                <a:gd name="connsiteX0" fmla="*/ 184096 w 728037"/>
                <a:gd name="connsiteY0" fmla="*/ -30 h 721747"/>
                <a:gd name="connsiteX1" fmla="*/ 384 w 728037"/>
                <a:gd name="connsiteY1" fmla="*/ 31969 h 721747"/>
                <a:gd name="connsiteX2" fmla="*/ 384 w 728037"/>
                <a:gd name="connsiteY2" fmla="*/ 31969 h 721747"/>
                <a:gd name="connsiteX3" fmla="*/ 384 w 728037"/>
                <a:gd name="connsiteY3" fmla="*/ 53908 h 721747"/>
                <a:gd name="connsiteX4" fmla="*/ 18755 w 728037"/>
                <a:gd name="connsiteY4" fmla="*/ 48532 h 721747"/>
                <a:gd name="connsiteX5" fmla="*/ 32077 w 728037"/>
                <a:gd name="connsiteY5" fmla="*/ 45930 h 721747"/>
                <a:gd name="connsiteX6" fmla="*/ 36778 w 728037"/>
                <a:gd name="connsiteY6" fmla="*/ 45237 h 721747"/>
                <a:gd name="connsiteX7" fmla="*/ 174170 w 728037"/>
                <a:gd name="connsiteY7" fmla="*/ 82872 h 721747"/>
                <a:gd name="connsiteX8" fmla="*/ 174170 w 728037"/>
                <a:gd name="connsiteY8" fmla="*/ 82872 h 721747"/>
                <a:gd name="connsiteX9" fmla="*/ 52624 w 728037"/>
                <a:gd name="connsiteY9" fmla="*/ 425752 h 721747"/>
                <a:gd name="connsiteX10" fmla="*/ 994 w 728037"/>
                <a:gd name="connsiteY10" fmla="*/ 465468 h 721747"/>
                <a:gd name="connsiteX11" fmla="*/ -51 w 728037"/>
                <a:gd name="connsiteY11" fmla="*/ 466162 h 721747"/>
                <a:gd name="connsiteX12" fmla="*/ -51 w 728037"/>
                <a:gd name="connsiteY12" fmla="*/ 502583 h 721747"/>
                <a:gd name="connsiteX13" fmla="*/ 15447 w 728037"/>
                <a:gd name="connsiteY13" fmla="*/ 491570 h 721747"/>
                <a:gd name="connsiteX14" fmla="*/ 71344 w 728037"/>
                <a:gd name="connsiteY14" fmla="*/ 581063 h 721747"/>
                <a:gd name="connsiteX15" fmla="*/ 97464 w 728037"/>
                <a:gd name="connsiteY15" fmla="*/ 563719 h 721747"/>
                <a:gd name="connsiteX16" fmla="*/ 145003 w 728037"/>
                <a:gd name="connsiteY16" fmla="*/ 528599 h 721747"/>
                <a:gd name="connsiteX17" fmla="*/ 147092 w 728037"/>
                <a:gd name="connsiteY17" fmla="*/ 526778 h 721747"/>
                <a:gd name="connsiteX18" fmla="*/ 73956 w 728037"/>
                <a:gd name="connsiteY18" fmla="*/ 443095 h 721747"/>
                <a:gd name="connsiteX19" fmla="*/ 126196 w 728037"/>
                <a:gd name="connsiteY19" fmla="*/ 388030 h 721747"/>
                <a:gd name="connsiteX20" fmla="*/ 216049 w 728037"/>
                <a:gd name="connsiteY20" fmla="*/ 460352 h 721747"/>
                <a:gd name="connsiteX21" fmla="*/ 268289 w 728037"/>
                <a:gd name="connsiteY21" fmla="*/ 395661 h 721747"/>
                <a:gd name="connsiteX22" fmla="*/ 165028 w 728037"/>
                <a:gd name="connsiteY22" fmla="*/ 334092 h 721747"/>
                <a:gd name="connsiteX23" fmla="*/ 194718 w 728037"/>
                <a:gd name="connsiteY23" fmla="*/ 279373 h 721747"/>
                <a:gd name="connsiteX24" fmla="*/ 309211 w 728037"/>
                <a:gd name="connsiteY24" fmla="*/ 327328 h 721747"/>
                <a:gd name="connsiteX25" fmla="*/ 331239 w 728037"/>
                <a:gd name="connsiteY25" fmla="*/ 274430 h 721747"/>
                <a:gd name="connsiteX26" fmla="*/ 333764 w 728037"/>
                <a:gd name="connsiteY26" fmla="*/ 266713 h 721747"/>
                <a:gd name="connsiteX27" fmla="*/ 212044 w 728037"/>
                <a:gd name="connsiteY27" fmla="*/ 231245 h 721747"/>
                <a:gd name="connsiteX28" fmla="*/ 220751 w 728037"/>
                <a:gd name="connsiteY28" fmla="*/ 185198 h 721747"/>
                <a:gd name="connsiteX29" fmla="*/ 346127 w 728037"/>
                <a:gd name="connsiteY29" fmla="*/ 207571 h 721747"/>
                <a:gd name="connsiteX30" fmla="*/ 345431 w 728037"/>
                <a:gd name="connsiteY30" fmla="*/ 159010 h 721747"/>
                <a:gd name="connsiteX31" fmla="*/ 220054 w 728037"/>
                <a:gd name="connsiteY31" fmla="*/ 147043 h 721747"/>
                <a:gd name="connsiteX32" fmla="*/ 211348 w 728037"/>
                <a:gd name="connsiteY32" fmla="*/ 113657 h 721747"/>
                <a:gd name="connsiteX33" fmla="*/ 331848 w 728037"/>
                <a:gd name="connsiteY33" fmla="*/ 115651 h 721747"/>
                <a:gd name="connsiteX34" fmla="*/ 320878 w 728037"/>
                <a:gd name="connsiteY34" fmla="*/ 96226 h 721747"/>
                <a:gd name="connsiteX35" fmla="*/ 310604 w 728037"/>
                <a:gd name="connsiteY35" fmla="*/ 83045 h 721747"/>
                <a:gd name="connsiteX36" fmla="*/ 198201 w 728037"/>
                <a:gd name="connsiteY36" fmla="*/ 88162 h 721747"/>
                <a:gd name="connsiteX37" fmla="*/ 179568 w 728037"/>
                <a:gd name="connsiteY37" fmla="*/ 67350 h 721747"/>
                <a:gd name="connsiteX38" fmla="*/ 281437 w 728037"/>
                <a:gd name="connsiteY38" fmla="*/ 56770 h 721747"/>
                <a:gd name="connsiteX39" fmla="*/ 250528 w 728037"/>
                <a:gd name="connsiteY39" fmla="*/ 39427 h 721747"/>
                <a:gd name="connsiteX40" fmla="*/ 159369 w 728037"/>
                <a:gd name="connsiteY40" fmla="*/ 52868 h 721747"/>
                <a:gd name="connsiteX41" fmla="*/ 136557 w 728037"/>
                <a:gd name="connsiteY41" fmla="*/ 42462 h 721747"/>
                <a:gd name="connsiteX42" fmla="*/ 196982 w 728037"/>
                <a:gd name="connsiteY42" fmla="*/ 28934 h 721747"/>
                <a:gd name="connsiteX43" fmla="*/ 196982 w 728037"/>
                <a:gd name="connsiteY43" fmla="*/ 28934 h 721747"/>
                <a:gd name="connsiteX44" fmla="*/ 113833 w 728037"/>
                <a:gd name="connsiteY44" fmla="*/ 36131 h 721747"/>
                <a:gd name="connsiteX45" fmla="*/ 89802 w 728037"/>
                <a:gd name="connsiteY45" fmla="*/ 32749 h 721747"/>
                <a:gd name="connsiteX46" fmla="*/ 146309 w 728037"/>
                <a:gd name="connsiteY46" fmla="*/ 21216 h 721747"/>
                <a:gd name="connsiteX47" fmla="*/ 336550 w 728037"/>
                <a:gd name="connsiteY47" fmla="*/ 89202 h 721747"/>
                <a:gd name="connsiteX48" fmla="*/ 336550 w 728037"/>
                <a:gd name="connsiteY48" fmla="*/ 89202 h 721747"/>
                <a:gd name="connsiteX49" fmla="*/ 293713 w 728037"/>
                <a:gd name="connsiteY49" fmla="*/ 410923 h 721747"/>
                <a:gd name="connsiteX50" fmla="*/ 217616 w 728037"/>
                <a:gd name="connsiteY50" fmla="*/ 504144 h 721747"/>
                <a:gd name="connsiteX51" fmla="*/ 144045 w 728037"/>
                <a:gd name="connsiteY51" fmla="*/ 570656 h 721747"/>
                <a:gd name="connsiteX52" fmla="*/ 25634 w 728037"/>
                <a:gd name="connsiteY52" fmla="*/ 646187 h 721747"/>
                <a:gd name="connsiteX53" fmla="*/ 123 w 728037"/>
                <a:gd name="connsiteY53" fmla="*/ 658935 h 721747"/>
                <a:gd name="connsiteX54" fmla="*/ 123 w 728037"/>
                <a:gd name="connsiteY54" fmla="*/ 697524 h 721747"/>
                <a:gd name="connsiteX55" fmla="*/ 109827 w 728037"/>
                <a:gd name="connsiteY55" fmla="*/ 634133 h 721747"/>
                <a:gd name="connsiteX56" fmla="*/ 167814 w 728037"/>
                <a:gd name="connsiteY56" fmla="*/ 716168 h 721747"/>
                <a:gd name="connsiteX57" fmla="*/ 257667 w 728037"/>
                <a:gd name="connsiteY57" fmla="*/ 651217 h 721747"/>
                <a:gd name="connsiteX58" fmla="*/ 188014 w 728037"/>
                <a:gd name="connsiteY58" fmla="*/ 573171 h 721747"/>
                <a:gd name="connsiteX59" fmla="*/ 260540 w 728037"/>
                <a:gd name="connsiteY59" fmla="*/ 500069 h 721747"/>
                <a:gd name="connsiteX60" fmla="*/ 340555 w 728037"/>
                <a:gd name="connsiteY60" fmla="*/ 571350 h 721747"/>
                <a:gd name="connsiteX61" fmla="*/ 403069 w 728037"/>
                <a:gd name="connsiteY61" fmla="*/ 490443 h 721747"/>
                <a:gd name="connsiteX62" fmla="*/ 316002 w 728037"/>
                <a:gd name="connsiteY62" fmla="*/ 426793 h 721747"/>
                <a:gd name="connsiteX63" fmla="*/ 357359 w 728037"/>
                <a:gd name="connsiteY63" fmla="*/ 351435 h 721747"/>
                <a:gd name="connsiteX64" fmla="*/ 449911 w 728037"/>
                <a:gd name="connsiteY64" fmla="*/ 406414 h 721747"/>
                <a:gd name="connsiteX65" fmla="*/ 476467 w 728037"/>
                <a:gd name="connsiteY65" fmla="*/ 330363 h 721747"/>
                <a:gd name="connsiteX66" fmla="*/ 381302 w 728037"/>
                <a:gd name="connsiteY66" fmla="*/ 283449 h 721747"/>
                <a:gd name="connsiteX67" fmla="*/ 391228 w 728037"/>
                <a:gd name="connsiteY67" fmla="*/ 219192 h 721747"/>
                <a:gd name="connsiteX68" fmla="*/ 487002 w 728037"/>
                <a:gd name="connsiteY68" fmla="*/ 258301 h 721747"/>
                <a:gd name="connsiteX69" fmla="*/ 482910 w 728037"/>
                <a:gd name="connsiteY69" fmla="*/ 198986 h 721747"/>
                <a:gd name="connsiteX70" fmla="*/ 388007 w 728037"/>
                <a:gd name="connsiteY70" fmla="*/ 166294 h 721747"/>
                <a:gd name="connsiteX71" fmla="*/ 373902 w 728037"/>
                <a:gd name="connsiteY71" fmla="*/ 119814 h 721747"/>
                <a:gd name="connsiteX72" fmla="*/ 466715 w 728037"/>
                <a:gd name="connsiteY72" fmla="*/ 146609 h 721747"/>
                <a:gd name="connsiteX73" fmla="*/ 442772 w 728037"/>
                <a:gd name="connsiteY73" fmla="*/ 108800 h 721747"/>
                <a:gd name="connsiteX74" fmla="*/ 351351 w 728037"/>
                <a:gd name="connsiteY74" fmla="*/ 82005 h 721747"/>
                <a:gd name="connsiteX75" fmla="*/ 328366 w 728037"/>
                <a:gd name="connsiteY75" fmla="*/ 57811 h 721747"/>
                <a:gd name="connsiteX76" fmla="*/ 379474 w 728037"/>
                <a:gd name="connsiteY76" fmla="*/ 67610 h 721747"/>
                <a:gd name="connsiteX77" fmla="*/ 306164 w 728037"/>
                <a:gd name="connsiteY77" fmla="*/ 41161 h 721747"/>
                <a:gd name="connsiteX78" fmla="*/ 289360 w 728037"/>
                <a:gd name="connsiteY78" fmla="*/ 31275 h 721747"/>
                <a:gd name="connsiteX79" fmla="*/ 437374 w 728037"/>
                <a:gd name="connsiteY79" fmla="*/ 89896 h 721747"/>
                <a:gd name="connsiteX80" fmla="*/ 451217 w 728037"/>
                <a:gd name="connsiteY80" fmla="*/ 101776 h 721747"/>
                <a:gd name="connsiteX81" fmla="*/ 465061 w 728037"/>
                <a:gd name="connsiteY81" fmla="*/ 117906 h 721747"/>
                <a:gd name="connsiteX82" fmla="*/ 465061 w 728037"/>
                <a:gd name="connsiteY82" fmla="*/ 117906 h 721747"/>
                <a:gd name="connsiteX83" fmla="*/ 226497 w 728037"/>
                <a:gd name="connsiteY83" fmla="*/ 721631 h 721747"/>
                <a:gd name="connsiteX84" fmla="*/ 319833 w 728037"/>
                <a:gd name="connsiteY84" fmla="*/ 721631 h 721747"/>
                <a:gd name="connsiteX85" fmla="*/ 300765 w 728037"/>
                <a:gd name="connsiteY85" fmla="*/ 700559 h 721747"/>
                <a:gd name="connsiteX86" fmla="*/ 383566 w 728037"/>
                <a:gd name="connsiteY86" fmla="*/ 612628 h 721747"/>
                <a:gd name="connsiteX87" fmla="*/ 446080 w 728037"/>
                <a:gd name="connsiteY87" fmla="*/ 674630 h 721747"/>
                <a:gd name="connsiteX88" fmla="*/ 513383 w 728037"/>
                <a:gd name="connsiteY88" fmla="*/ 586005 h 721747"/>
                <a:gd name="connsiteX89" fmla="*/ 445558 w 728037"/>
                <a:gd name="connsiteY89" fmla="*/ 524349 h 721747"/>
                <a:gd name="connsiteX90" fmla="*/ 490920 w 728037"/>
                <a:gd name="connsiteY90" fmla="*/ 434424 h 721747"/>
                <a:gd name="connsiteX91" fmla="*/ 562576 w 728037"/>
                <a:gd name="connsiteY91" fmla="*/ 493912 h 721747"/>
                <a:gd name="connsiteX92" fmla="*/ 589915 w 728037"/>
                <a:gd name="connsiteY92" fmla="*/ 410316 h 721747"/>
                <a:gd name="connsiteX93" fmla="*/ 516169 w 728037"/>
                <a:gd name="connsiteY93" fmla="*/ 353777 h 721747"/>
                <a:gd name="connsiteX94" fmla="*/ 526008 w 728037"/>
                <a:gd name="connsiteY94" fmla="*/ 277812 h 721747"/>
                <a:gd name="connsiteX95" fmla="*/ 599492 w 728037"/>
                <a:gd name="connsiteY95" fmla="*/ 330363 h 721747"/>
                <a:gd name="connsiteX96" fmla="*/ 593224 w 728037"/>
                <a:gd name="connsiteY96" fmla="*/ 264458 h 721747"/>
                <a:gd name="connsiteX97" fmla="*/ 521654 w 728037"/>
                <a:gd name="connsiteY97" fmla="*/ 215636 h 721747"/>
                <a:gd name="connsiteX98" fmla="*/ 505982 w 728037"/>
                <a:gd name="connsiteY98" fmla="*/ 161525 h 721747"/>
                <a:gd name="connsiteX99" fmla="*/ 505982 w 728037"/>
                <a:gd name="connsiteY99" fmla="*/ 161525 h 721747"/>
                <a:gd name="connsiteX100" fmla="*/ 558223 w 728037"/>
                <a:gd name="connsiteY100" fmla="*/ 194304 h 721747"/>
                <a:gd name="connsiteX101" fmla="*/ 490833 w 728037"/>
                <a:gd name="connsiteY101" fmla="*/ 130827 h 721747"/>
                <a:gd name="connsiteX102" fmla="*/ 476902 w 728037"/>
                <a:gd name="connsiteY102" fmla="*/ 110535 h 721747"/>
                <a:gd name="connsiteX103" fmla="*/ 572066 w 728037"/>
                <a:gd name="connsiteY103" fmla="*/ 193697 h 721747"/>
                <a:gd name="connsiteX104" fmla="*/ 599492 w 728037"/>
                <a:gd name="connsiteY104" fmla="*/ 242952 h 721747"/>
                <a:gd name="connsiteX105" fmla="*/ 604804 w 728037"/>
                <a:gd name="connsiteY105" fmla="*/ 258474 h 721747"/>
                <a:gd name="connsiteX106" fmla="*/ 587390 w 728037"/>
                <a:gd name="connsiteY106" fmla="*/ 495906 h 721747"/>
                <a:gd name="connsiteX107" fmla="*/ 448083 w 728037"/>
                <a:gd name="connsiteY107" fmla="*/ 721371 h 721747"/>
                <a:gd name="connsiteX108" fmla="*/ 559093 w 728037"/>
                <a:gd name="connsiteY108" fmla="*/ 721371 h 721747"/>
                <a:gd name="connsiteX109" fmla="*/ 589480 w 728037"/>
                <a:gd name="connsiteY109" fmla="*/ 674977 h 721747"/>
                <a:gd name="connsiteX110" fmla="*/ 548210 w 728037"/>
                <a:gd name="connsiteY110" fmla="*/ 624334 h 721747"/>
                <a:gd name="connsiteX111" fmla="*/ 596880 w 728037"/>
                <a:gd name="connsiteY111" fmla="*/ 528945 h 721747"/>
                <a:gd name="connsiteX112" fmla="*/ 637279 w 728037"/>
                <a:gd name="connsiteY112" fmla="*/ 579588 h 721747"/>
                <a:gd name="connsiteX113" fmla="*/ 662790 w 728037"/>
                <a:gd name="connsiteY113" fmla="*/ 494779 h 721747"/>
                <a:gd name="connsiteX114" fmla="*/ 624132 w 728037"/>
                <a:gd name="connsiteY114" fmla="*/ 444136 h 721747"/>
                <a:gd name="connsiteX115" fmla="*/ 634319 w 728037"/>
                <a:gd name="connsiteY115" fmla="*/ 363489 h 721747"/>
                <a:gd name="connsiteX116" fmla="*/ 665663 w 728037"/>
                <a:gd name="connsiteY116" fmla="*/ 404506 h 721747"/>
                <a:gd name="connsiteX117" fmla="*/ 665663 w 728037"/>
                <a:gd name="connsiteY117" fmla="*/ 404506 h 721747"/>
                <a:gd name="connsiteX118" fmla="*/ 630837 w 728037"/>
                <a:gd name="connsiteY118" fmla="*/ 301053 h 721747"/>
                <a:gd name="connsiteX119" fmla="*/ 630314 w 728037"/>
                <a:gd name="connsiteY119" fmla="*/ 298017 h 721747"/>
                <a:gd name="connsiteX120" fmla="*/ 618212 w 728037"/>
                <a:gd name="connsiteY120" fmla="*/ 252318 h 721747"/>
                <a:gd name="connsiteX121" fmla="*/ 665402 w 728037"/>
                <a:gd name="connsiteY121" fmla="*/ 341896 h 721747"/>
                <a:gd name="connsiteX122" fmla="*/ 684296 w 728037"/>
                <a:gd name="connsiteY122" fmla="*/ 452894 h 721747"/>
                <a:gd name="connsiteX123" fmla="*/ 591134 w 728037"/>
                <a:gd name="connsiteY123" fmla="*/ 721718 h 721747"/>
                <a:gd name="connsiteX124" fmla="*/ 619083 w 728037"/>
                <a:gd name="connsiteY124" fmla="*/ 721718 h 721747"/>
                <a:gd name="connsiteX125" fmla="*/ 666012 w 728037"/>
                <a:gd name="connsiteY125" fmla="*/ 620432 h 721747"/>
                <a:gd name="connsiteX126" fmla="*/ 677069 w 728037"/>
                <a:gd name="connsiteY126" fmla="*/ 654252 h 721747"/>
                <a:gd name="connsiteX127" fmla="*/ 697007 w 728037"/>
                <a:gd name="connsiteY127" fmla="*/ 550972 h 721747"/>
                <a:gd name="connsiteX128" fmla="*/ 691871 w 728037"/>
                <a:gd name="connsiteY128" fmla="*/ 534322 h 721747"/>
                <a:gd name="connsiteX129" fmla="*/ 700577 w 728037"/>
                <a:gd name="connsiteY129" fmla="*/ 469718 h 721747"/>
                <a:gd name="connsiteX130" fmla="*/ 705540 w 728037"/>
                <a:gd name="connsiteY130" fmla="*/ 541606 h 721747"/>
                <a:gd name="connsiteX131" fmla="*/ 690913 w 728037"/>
                <a:gd name="connsiteY131" fmla="*/ 664745 h 721747"/>
                <a:gd name="connsiteX132" fmla="*/ 673499 w 728037"/>
                <a:gd name="connsiteY132" fmla="*/ 721718 h 721747"/>
                <a:gd name="connsiteX133" fmla="*/ 697530 w 728037"/>
                <a:gd name="connsiteY133" fmla="*/ 721718 h 721747"/>
                <a:gd name="connsiteX134" fmla="*/ 361722 w 728037"/>
                <a:gd name="connsiteY134" fmla="*/ 30152 h 721747"/>
                <a:gd name="connsiteX135" fmla="*/ 184096 w 728037"/>
                <a:gd name="connsiteY135" fmla="*/ -30 h 721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728037" h="721747">
                  <a:moveTo>
                    <a:pt x="184096" y="-30"/>
                  </a:moveTo>
                  <a:cubicBezTo>
                    <a:pt x="121456" y="-90"/>
                    <a:pt x="59286" y="10739"/>
                    <a:pt x="384" y="31969"/>
                  </a:cubicBezTo>
                  <a:lnTo>
                    <a:pt x="384" y="31969"/>
                  </a:lnTo>
                  <a:lnTo>
                    <a:pt x="384" y="53908"/>
                  </a:lnTo>
                  <a:cubicBezTo>
                    <a:pt x="6391" y="51742"/>
                    <a:pt x="12527" y="49947"/>
                    <a:pt x="18755" y="48532"/>
                  </a:cubicBezTo>
                  <a:cubicBezTo>
                    <a:pt x="23225" y="47549"/>
                    <a:pt x="27665" y="46682"/>
                    <a:pt x="32077" y="45930"/>
                  </a:cubicBezTo>
                  <a:lnTo>
                    <a:pt x="36778" y="45237"/>
                  </a:lnTo>
                  <a:cubicBezTo>
                    <a:pt x="94591" y="36565"/>
                    <a:pt x="144306" y="48705"/>
                    <a:pt x="174170" y="82872"/>
                  </a:cubicBezTo>
                  <a:lnTo>
                    <a:pt x="174170" y="82872"/>
                  </a:lnTo>
                  <a:cubicBezTo>
                    <a:pt x="238948" y="157796"/>
                    <a:pt x="184792" y="311199"/>
                    <a:pt x="52624" y="425752"/>
                  </a:cubicBezTo>
                  <a:cubicBezTo>
                    <a:pt x="36234" y="440015"/>
                    <a:pt x="18992" y="453279"/>
                    <a:pt x="994" y="465468"/>
                  </a:cubicBezTo>
                  <a:cubicBezTo>
                    <a:pt x="681" y="465749"/>
                    <a:pt x="329" y="465983"/>
                    <a:pt x="-51" y="466162"/>
                  </a:cubicBezTo>
                  <a:lnTo>
                    <a:pt x="-51" y="502583"/>
                  </a:lnTo>
                  <a:cubicBezTo>
                    <a:pt x="5173" y="499028"/>
                    <a:pt x="10397" y="495386"/>
                    <a:pt x="15447" y="491570"/>
                  </a:cubicBezTo>
                  <a:cubicBezTo>
                    <a:pt x="22673" y="503711"/>
                    <a:pt x="70473" y="579762"/>
                    <a:pt x="71344" y="581063"/>
                  </a:cubicBezTo>
                  <a:cubicBezTo>
                    <a:pt x="74914" y="578808"/>
                    <a:pt x="85187" y="572391"/>
                    <a:pt x="97464" y="563719"/>
                  </a:cubicBezTo>
                  <a:cubicBezTo>
                    <a:pt x="111917" y="553920"/>
                    <a:pt x="129330" y="541693"/>
                    <a:pt x="145003" y="528599"/>
                  </a:cubicBezTo>
                  <a:lnTo>
                    <a:pt x="147092" y="526778"/>
                  </a:lnTo>
                  <a:lnTo>
                    <a:pt x="73956" y="443095"/>
                  </a:lnTo>
                  <a:cubicBezTo>
                    <a:pt x="81357" y="435811"/>
                    <a:pt x="106084" y="411357"/>
                    <a:pt x="126196" y="388030"/>
                  </a:cubicBezTo>
                  <a:cubicBezTo>
                    <a:pt x="130811" y="391585"/>
                    <a:pt x="191670" y="438586"/>
                    <a:pt x="216049" y="460352"/>
                  </a:cubicBezTo>
                  <a:cubicBezTo>
                    <a:pt x="234860" y="439946"/>
                    <a:pt x="252311" y="418336"/>
                    <a:pt x="268289" y="395661"/>
                  </a:cubicBezTo>
                  <a:cubicBezTo>
                    <a:pt x="234769" y="373722"/>
                    <a:pt x="165028" y="334092"/>
                    <a:pt x="165028" y="334092"/>
                  </a:cubicBezTo>
                  <a:cubicBezTo>
                    <a:pt x="176224" y="316582"/>
                    <a:pt x="186146" y="298296"/>
                    <a:pt x="194718" y="279373"/>
                  </a:cubicBezTo>
                  <a:cubicBezTo>
                    <a:pt x="194718" y="279373"/>
                    <a:pt x="276038" y="311025"/>
                    <a:pt x="309211" y="327328"/>
                  </a:cubicBezTo>
                  <a:cubicBezTo>
                    <a:pt x="317770" y="310223"/>
                    <a:pt x="325131" y="292548"/>
                    <a:pt x="331239" y="274430"/>
                  </a:cubicBezTo>
                  <a:cubicBezTo>
                    <a:pt x="332110" y="271829"/>
                    <a:pt x="332980" y="269314"/>
                    <a:pt x="333764" y="266713"/>
                  </a:cubicBezTo>
                  <a:cubicBezTo>
                    <a:pt x="293936" y="252487"/>
                    <a:pt x="253290" y="240644"/>
                    <a:pt x="212044" y="231245"/>
                  </a:cubicBezTo>
                  <a:cubicBezTo>
                    <a:pt x="216379" y="216200"/>
                    <a:pt x="219293" y="200784"/>
                    <a:pt x="220751" y="185198"/>
                  </a:cubicBezTo>
                  <a:cubicBezTo>
                    <a:pt x="263025" y="189667"/>
                    <a:pt x="304925" y="197145"/>
                    <a:pt x="346127" y="207571"/>
                  </a:cubicBezTo>
                  <a:cubicBezTo>
                    <a:pt x="347783" y="191412"/>
                    <a:pt x="347550" y="175116"/>
                    <a:pt x="345431" y="159010"/>
                  </a:cubicBezTo>
                  <a:cubicBezTo>
                    <a:pt x="304059" y="151457"/>
                    <a:pt x="262113" y="147453"/>
                    <a:pt x="220054" y="147043"/>
                  </a:cubicBezTo>
                  <a:cubicBezTo>
                    <a:pt x="218518" y="135604"/>
                    <a:pt x="215595" y="124394"/>
                    <a:pt x="211348" y="113657"/>
                  </a:cubicBezTo>
                  <a:cubicBezTo>
                    <a:pt x="251492" y="110699"/>
                    <a:pt x="291825" y="111366"/>
                    <a:pt x="331848" y="115651"/>
                  </a:cubicBezTo>
                  <a:cubicBezTo>
                    <a:pt x="328598" y="108957"/>
                    <a:pt x="324934" y="102469"/>
                    <a:pt x="320878" y="96226"/>
                  </a:cubicBezTo>
                  <a:cubicBezTo>
                    <a:pt x="317656" y="91630"/>
                    <a:pt x="310604" y="83045"/>
                    <a:pt x="310604" y="83045"/>
                  </a:cubicBezTo>
                  <a:cubicBezTo>
                    <a:pt x="273059" y="81006"/>
                    <a:pt x="235402" y="82720"/>
                    <a:pt x="198201" y="88162"/>
                  </a:cubicBezTo>
                  <a:cubicBezTo>
                    <a:pt x="192834" y="80519"/>
                    <a:pt x="186580" y="73533"/>
                    <a:pt x="179568" y="67350"/>
                  </a:cubicBezTo>
                  <a:cubicBezTo>
                    <a:pt x="213065" y="60316"/>
                    <a:pt x="247204" y="56771"/>
                    <a:pt x="281437" y="56770"/>
                  </a:cubicBezTo>
                  <a:cubicBezTo>
                    <a:pt x="271633" y="50148"/>
                    <a:pt x="261294" y="44347"/>
                    <a:pt x="250528" y="39427"/>
                  </a:cubicBezTo>
                  <a:cubicBezTo>
                    <a:pt x="219746" y="40650"/>
                    <a:pt x="189186" y="45157"/>
                    <a:pt x="159369" y="52868"/>
                  </a:cubicBezTo>
                  <a:cubicBezTo>
                    <a:pt x="152159" y="48601"/>
                    <a:pt x="144511" y="45112"/>
                    <a:pt x="136557" y="42462"/>
                  </a:cubicBezTo>
                  <a:cubicBezTo>
                    <a:pt x="156315" y="36398"/>
                    <a:pt x="176518" y="31875"/>
                    <a:pt x="196982" y="28934"/>
                  </a:cubicBezTo>
                  <a:lnTo>
                    <a:pt x="196982" y="28934"/>
                  </a:lnTo>
                  <a:cubicBezTo>
                    <a:pt x="164157" y="24685"/>
                    <a:pt x="118621" y="34917"/>
                    <a:pt x="113833" y="36131"/>
                  </a:cubicBezTo>
                  <a:cubicBezTo>
                    <a:pt x="106780" y="34657"/>
                    <a:pt x="97029" y="33443"/>
                    <a:pt x="89802" y="32749"/>
                  </a:cubicBezTo>
                  <a:cubicBezTo>
                    <a:pt x="108373" y="27715"/>
                    <a:pt x="127246" y="23863"/>
                    <a:pt x="146309" y="21216"/>
                  </a:cubicBezTo>
                  <a:cubicBezTo>
                    <a:pt x="175650" y="17140"/>
                    <a:pt x="273775" y="5087"/>
                    <a:pt x="336550" y="89202"/>
                  </a:cubicBezTo>
                  <a:lnTo>
                    <a:pt x="336550" y="89202"/>
                  </a:lnTo>
                  <a:cubicBezTo>
                    <a:pt x="395930" y="168809"/>
                    <a:pt x="374337" y="292381"/>
                    <a:pt x="293713" y="410923"/>
                  </a:cubicBezTo>
                  <a:cubicBezTo>
                    <a:pt x="271290" y="444269"/>
                    <a:pt x="245816" y="475476"/>
                    <a:pt x="217616" y="504144"/>
                  </a:cubicBezTo>
                  <a:cubicBezTo>
                    <a:pt x="194571" y="527885"/>
                    <a:pt x="169994" y="550103"/>
                    <a:pt x="144045" y="570656"/>
                  </a:cubicBezTo>
                  <a:cubicBezTo>
                    <a:pt x="107428" y="600017"/>
                    <a:pt x="67726" y="625340"/>
                    <a:pt x="25634" y="646187"/>
                  </a:cubicBezTo>
                  <a:cubicBezTo>
                    <a:pt x="16927" y="650610"/>
                    <a:pt x="8220" y="654859"/>
                    <a:pt x="123" y="658935"/>
                  </a:cubicBezTo>
                  <a:lnTo>
                    <a:pt x="123" y="697524"/>
                  </a:lnTo>
                  <a:cubicBezTo>
                    <a:pt x="38618" y="679885"/>
                    <a:pt x="75350" y="658666"/>
                    <a:pt x="109827" y="634133"/>
                  </a:cubicBezTo>
                  <a:lnTo>
                    <a:pt x="167814" y="716168"/>
                  </a:lnTo>
                  <a:cubicBezTo>
                    <a:pt x="198992" y="696249"/>
                    <a:pt x="228993" y="674570"/>
                    <a:pt x="257667" y="651217"/>
                  </a:cubicBezTo>
                  <a:lnTo>
                    <a:pt x="188014" y="573171"/>
                  </a:lnTo>
                  <a:cubicBezTo>
                    <a:pt x="213788" y="550431"/>
                    <a:pt x="238017" y="526009"/>
                    <a:pt x="260540" y="500069"/>
                  </a:cubicBezTo>
                  <a:cubicBezTo>
                    <a:pt x="260540" y="500069"/>
                    <a:pt x="332632" y="563806"/>
                    <a:pt x="340555" y="571350"/>
                  </a:cubicBezTo>
                  <a:cubicBezTo>
                    <a:pt x="363269" y="545872"/>
                    <a:pt x="384158" y="518836"/>
                    <a:pt x="403069" y="490443"/>
                  </a:cubicBezTo>
                  <a:cubicBezTo>
                    <a:pt x="365456" y="460786"/>
                    <a:pt x="316525" y="427313"/>
                    <a:pt x="316002" y="426793"/>
                  </a:cubicBezTo>
                  <a:cubicBezTo>
                    <a:pt x="331342" y="402551"/>
                    <a:pt x="345154" y="377384"/>
                    <a:pt x="357359" y="351435"/>
                  </a:cubicBezTo>
                  <a:cubicBezTo>
                    <a:pt x="357359" y="351435"/>
                    <a:pt x="404985" y="377450"/>
                    <a:pt x="449911" y="406414"/>
                  </a:cubicBezTo>
                  <a:cubicBezTo>
                    <a:pt x="460960" y="381880"/>
                    <a:pt x="469850" y="356434"/>
                    <a:pt x="476467" y="330363"/>
                  </a:cubicBezTo>
                  <a:cubicBezTo>
                    <a:pt x="446951" y="313020"/>
                    <a:pt x="381302" y="283449"/>
                    <a:pt x="381302" y="283449"/>
                  </a:cubicBezTo>
                  <a:cubicBezTo>
                    <a:pt x="386766" y="262416"/>
                    <a:pt x="390091" y="240888"/>
                    <a:pt x="391228" y="219192"/>
                  </a:cubicBezTo>
                  <a:cubicBezTo>
                    <a:pt x="424022" y="230009"/>
                    <a:pt x="456023" y="243076"/>
                    <a:pt x="487002" y="258301"/>
                  </a:cubicBezTo>
                  <a:cubicBezTo>
                    <a:pt x="487751" y="238441"/>
                    <a:pt x="486384" y="218558"/>
                    <a:pt x="482910" y="198986"/>
                  </a:cubicBezTo>
                  <a:cubicBezTo>
                    <a:pt x="452297" y="185342"/>
                    <a:pt x="420541" y="174403"/>
                    <a:pt x="388007" y="166294"/>
                  </a:cubicBezTo>
                  <a:cubicBezTo>
                    <a:pt x="385223" y="150286"/>
                    <a:pt x="380487" y="134677"/>
                    <a:pt x="373902" y="119814"/>
                  </a:cubicBezTo>
                  <a:cubicBezTo>
                    <a:pt x="405559" y="126055"/>
                    <a:pt x="436616" y="135020"/>
                    <a:pt x="466715" y="146609"/>
                  </a:cubicBezTo>
                  <a:cubicBezTo>
                    <a:pt x="460751" y="132846"/>
                    <a:pt x="452671" y="120092"/>
                    <a:pt x="442772" y="108800"/>
                  </a:cubicBezTo>
                  <a:cubicBezTo>
                    <a:pt x="414910" y="93538"/>
                    <a:pt x="351351" y="82005"/>
                    <a:pt x="351351" y="82005"/>
                  </a:cubicBezTo>
                  <a:cubicBezTo>
                    <a:pt x="344443" y="73262"/>
                    <a:pt x="336749" y="65164"/>
                    <a:pt x="328366" y="57811"/>
                  </a:cubicBezTo>
                  <a:cubicBezTo>
                    <a:pt x="348304" y="60586"/>
                    <a:pt x="379474" y="67610"/>
                    <a:pt x="379474" y="67610"/>
                  </a:cubicBezTo>
                  <a:cubicBezTo>
                    <a:pt x="355915" y="56546"/>
                    <a:pt x="331371" y="47693"/>
                    <a:pt x="306164" y="41161"/>
                  </a:cubicBezTo>
                  <a:cubicBezTo>
                    <a:pt x="306164" y="41161"/>
                    <a:pt x="298502" y="36131"/>
                    <a:pt x="289360" y="31275"/>
                  </a:cubicBezTo>
                  <a:cubicBezTo>
                    <a:pt x="289360" y="31275"/>
                    <a:pt x="385133" y="50873"/>
                    <a:pt x="437374" y="89896"/>
                  </a:cubicBezTo>
                  <a:cubicBezTo>
                    <a:pt x="442215" y="93586"/>
                    <a:pt x="446838" y="97552"/>
                    <a:pt x="451217" y="101776"/>
                  </a:cubicBezTo>
                  <a:cubicBezTo>
                    <a:pt x="456302" y="106732"/>
                    <a:pt x="460934" y="112130"/>
                    <a:pt x="465061" y="117906"/>
                  </a:cubicBezTo>
                  <a:lnTo>
                    <a:pt x="465061" y="117906"/>
                  </a:lnTo>
                  <a:cubicBezTo>
                    <a:pt x="568671" y="259168"/>
                    <a:pt x="479079" y="531287"/>
                    <a:pt x="226497" y="721631"/>
                  </a:cubicBezTo>
                  <a:lnTo>
                    <a:pt x="319833" y="721631"/>
                  </a:lnTo>
                  <a:lnTo>
                    <a:pt x="300765" y="700559"/>
                  </a:lnTo>
                  <a:cubicBezTo>
                    <a:pt x="330461" y="673278"/>
                    <a:pt x="358133" y="643889"/>
                    <a:pt x="383566" y="612628"/>
                  </a:cubicBezTo>
                  <a:lnTo>
                    <a:pt x="446080" y="674630"/>
                  </a:lnTo>
                  <a:cubicBezTo>
                    <a:pt x="470755" y="646846"/>
                    <a:pt x="493262" y="617215"/>
                    <a:pt x="513383" y="586005"/>
                  </a:cubicBezTo>
                  <a:cubicBezTo>
                    <a:pt x="513383" y="586005"/>
                    <a:pt x="480472" y="554614"/>
                    <a:pt x="445558" y="524349"/>
                  </a:cubicBezTo>
                  <a:cubicBezTo>
                    <a:pt x="463154" y="495676"/>
                    <a:pt x="478321" y="465598"/>
                    <a:pt x="490920" y="434424"/>
                  </a:cubicBezTo>
                  <a:cubicBezTo>
                    <a:pt x="515830" y="452992"/>
                    <a:pt x="539756" y="472848"/>
                    <a:pt x="562576" y="493912"/>
                  </a:cubicBezTo>
                  <a:cubicBezTo>
                    <a:pt x="574147" y="466905"/>
                    <a:pt x="583298" y="438931"/>
                    <a:pt x="589915" y="410316"/>
                  </a:cubicBezTo>
                  <a:cubicBezTo>
                    <a:pt x="566825" y="389619"/>
                    <a:pt x="542167" y="370717"/>
                    <a:pt x="516169" y="353777"/>
                  </a:cubicBezTo>
                  <a:cubicBezTo>
                    <a:pt x="521863" y="328824"/>
                    <a:pt x="525155" y="303387"/>
                    <a:pt x="526008" y="277812"/>
                  </a:cubicBezTo>
                  <a:cubicBezTo>
                    <a:pt x="551875" y="293341"/>
                    <a:pt x="576446" y="310914"/>
                    <a:pt x="599492" y="330363"/>
                  </a:cubicBezTo>
                  <a:cubicBezTo>
                    <a:pt x="599936" y="308228"/>
                    <a:pt x="597829" y="286116"/>
                    <a:pt x="593224" y="264458"/>
                  </a:cubicBezTo>
                  <a:cubicBezTo>
                    <a:pt x="571091" y="245804"/>
                    <a:pt x="547113" y="229446"/>
                    <a:pt x="521654" y="215636"/>
                  </a:cubicBezTo>
                  <a:cubicBezTo>
                    <a:pt x="518381" y="197094"/>
                    <a:pt x="513131" y="178953"/>
                    <a:pt x="505982" y="161525"/>
                  </a:cubicBezTo>
                  <a:cubicBezTo>
                    <a:pt x="505982" y="161525"/>
                    <a:pt x="505982" y="161525"/>
                    <a:pt x="505982" y="161525"/>
                  </a:cubicBezTo>
                  <a:cubicBezTo>
                    <a:pt x="524206" y="171120"/>
                    <a:pt x="541663" y="182077"/>
                    <a:pt x="558223" y="194304"/>
                  </a:cubicBezTo>
                  <a:cubicBezTo>
                    <a:pt x="538250" y="170669"/>
                    <a:pt x="515638" y="149374"/>
                    <a:pt x="490833" y="130827"/>
                  </a:cubicBezTo>
                  <a:cubicBezTo>
                    <a:pt x="486610" y="123785"/>
                    <a:pt x="481961" y="117008"/>
                    <a:pt x="476902" y="110535"/>
                  </a:cubicBezTo>
                  <a:cubicBezTo>
                    <a:pt x="511886" y="134321"/>
                    <a:pt x="543839" y="162246"/>
                    <a:pt x="572066" y="193697"/>
                  </a:cubicBezTo>
                  <a:cubicBezTo>
                    <a:pt x="583664" y="208633"/>
                    <a:pt x="592919" y="225242"/>
                    <a:pt x="599492" y="242952"/>
                  </a:cubicBezTo>
                  <a:cubicBezTo>
                    <a:pt x="601495" y="248155"/>
                    <a:pt x="603236" y="253358"/>
                    <a:pt x="604804" y="258474"/>
                  </a:cubicBezTo>
                  <a:cubicBezTo>
                    <a:pt x="628050" y="336520"/>
                    <a:pt x="613510" y="424104"/>
                    <a:pt x="587390" y="495906"/>
                  </a:cubicBezTo>
                  <a:cubicBezTo>
                    <a:pt x="555611" y="579123"/>
                    <a:pt x="508351" y="655613"/>
                    <a:pt x="448083" y="721371"/>
                  </a:cubicBezTo>
                  <a:lnTo>
                    <a:pt x="559093" y="721371"/>
                  </a:lnTo>
                  <a:cubicBezTo>
                    <a:pt x="569803" y="706109"/>
                    <a:pt x="579554" y="691627"/>
                    <a:pt x="589480" y="674977"/>
                  </a:cubicBezTo>
                  <a:cubicBezTo>
                    <a:pt x="582079" y="663791"/>
                    <a:pt x="548210" y="624334"/>
                    <a:pt x="548210" y="624334"/>
                  </a:cubicBezTo>
                  <a:cubicBezTo>
                    <a:pt x="567008" y="593910"/>
                    <a:pt x="583289" y="562007"/>
                    <a:pt x="596880" y="528945"/>
                  </a:cubicBezTo>
                  <a:cubicBezTo>
                    <a:pt x="611290" y="545057"/>
                    <a:pt x="624777" y="561964"/>
                    <a:pt x="637279" y="579588"/>
                  </a:cubicBezTo>
                  <a:cubicBezTo>
                    <a:pt x="648415" y="552170"/>
                    <a:pt x="656957" y="523777"/>
                    <a:pt x="662790" y="494779"/>
                  </a:cubicBezTo>
                  <a:cubicBezTo>
                    <a:pt x="651019" y="477079"/>
                    <a:pt x="638107" y="460162"/>
                    <a:pt x="624132" y="444136"/>
                  </a:cubicBezTo>
                  <a:cubicBezTo>
                    <a:pt x="630166" y="417650"/>
                    <a:pt x="633579" y="390638"/>
                    <a:pt x="634319" y="363489"/>
                  </a:cubicBezTo>
                  <a:cubicBezTo>
                    <a:pt x="647640" y="379358"/>
                    <a:pt x="665663" y="404506"/>
                    <a:pt x="665663" y="404506"/>
                  </a:cubicBezTo>
                  <a:lnTo>
                    <a:pt x="665663" y="404506"/>
                  </a:lnTo>
                  <a:cubicBezTo>
                    <a:pt x="661702" y="367919"/>
                    <a:pt x="649817" y="332624"/>
                    <a:pt x="630837" y="301053"/>
                  </a:cubicBezTo>
                  <a:cubicBezTo>
                    <a:pt x="630723" y="300031"/>
                    <a:pt x="630549" y="299017"/>
                    <a:pt x="630314" y="298017"/>
                  </a:cubicBezTo>
                  <a:cubicBezTo>
                    <a:pt x="627188" y="282560"/>
                    <a:pt x="623149" y="267300"/>
                    <a:pt x="618212" y="252318"/>
                  </a:cubicBezTo>
                  <a:cubicBezTo>
                    <a:pt x="636879" y="280547"/>
                    <a:pt x="652690" y="310554"/>
                    <a:pt x="665402" y="341896"/>
                  </a:cubicBezTo>
                  <a:cubicBezTo>
                    <a:pt x="678375" y="377457"/>
                    <a:pt x="684775" y="415062"/>
                    <a:pt x="684296" y="452894"/>
                  </a:cubicBezTo>
                  <a:cubicBezTo>
                    <a:pt x="684296" y="475094"/>
                    <a:pt x="679855" y="590862"/>
                    <a:pt x="591134" y="721718"/>
                  </a:cubicBezTo>
                  <a:lnTo>
                    <a:pt x="619083" y="721718"/>
                  </a:lnTo>
                  <a:cubicBezTo>
                    <a:pt x="636801" y="688947"/>
                    <a:pt x="652473" y="655119"/>
                    <a:pt x="666012" y="620432"/>
                  </a:cubicBezTo>
                  <a:cubicBezTo>
                    <a:pt x="666012" y="621560"/>
                    <a:pt x="672542" y="637776"/>
                    <a:pt x="677069" y="654252"/>
                  </a:cubicBezTo>
                  <a:cubicBezTo>
                    <a:pt x="686646" y="620450"/>
                    <a:pt x="693324" y="585901"/>
                    <a:pt x="697007" y="550972"/>
                  </a:cubicBezTo>
                  <a:cubicBezTo>
                    <a:pt x="695876" y="546376"/>
                    <a:pt x="693351" y="538918"/>
                    <a:pt x="691871" y="534322"/>
                  </a:cubicBezTo>
                  <a:cubicBezTo>
                    <a:pt x="695971" y="512965"/>
                    <a:pt x="698879" y="491397"/>
                    <a:pt x="700577" y="469718"/>
                  </a:cubicBezTo>
                  <a:cubicBezTo>
                    <a:pt x="703860" y="493541"/>
                    <a:pt x="705514" y="517559"/>
                    <a:pt x="705540" y="541606"/>
                  </a:cubicBezTo>
                  <a:cubicBezTo>
                    <a:pt x="705584" y="583085"/>
                    <a:pt x="700673" y="624421"/>
                    <a:pt x="690913" y="664745"/>
                  </a:cubicBezTo>
                  <a:cubicBezTo>
                    <a:pt x="685950" y="684343"/>
                    <a:pt x="679942" y="703594"/>
                    <a:pt x="673499" y="721718"/>
                  </a:cubicBezTo>
                  <a:lnTo>
                    <a:pt x="697530" y="721718"/>
                  </a:lnTo>
                  <a:cubicBezTo>
                    <a:pt x="796543" y="438389"/>
                    <a:pt x="646195" y="128765"/>
                    <a:pt x="361722" y="30152"/>
                  </a:cubicBezTo>
                  <a:cubicBezTo>
                    <a:pt x="304603" y="10352"/>
                    <a:pt x="244575" y="152"/>
                    <a:pt x="184096" y="-30"/>
                  </a:cubicBezTo>
                  <a:close/>
                </a:path>
              </a:pathLst>
            </a:custGeom>
            <a:solidFill>
              <a:schemeClr val="bg1"/>
            </a:solidFill>
            <a:ln w="10319"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2A0E8BB1-7460-1823-F1A2-85F42215FA17}"/>
                </a:ext>
              </a:extLst>
            </p:cNvPr>
            <p:cNvSpPr/>
            <p:nvPr userDrawn="1"/>
          </p:nvSpPr>
          <p:spPr>
            <a:xfrm>
              <a:off x="-210" y="6065298"/>
              <a:ext cx="60959" cy="41199"/>
            </a:xfrm>
            <a:custGeom>
              <a:avLst/>
              <a:gdLst>
                <a:gd name="connsiteX0" fmla="*/ 17362 w 51195"/>
                <a:gd name="connsiteY0" fmla="*/ 4653 h 34600"/>
                <a:gd name="connsiteX1" fmla="*/ -51 w 51195"/>
                <a:gd name="connsiteY1" fmla="*/ 17227 h 34600"/>
                <a:gd name="connsiteX2" fmla="*/ -51 w 51195"/>
                <a:gd name="connsiteY2" fmla="*/ 34570 h 34600"/>
                <a:gd name="connsiteX3" fmla="*/ 51144 w 51195"/>
                <a:gd name="connsiteY3" fmla="*/ -30 h 34600"/>
                <a:gd name="connsiteX4" fmla="*/ 17362 w 51195"/>
                <a:gd name="connsiteY4" fmla="*/ 4653 h 3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95" h="34600">
                  <a:moveTo>
                    <a:pt x="17362" y="4653"/>
                  </a:moveTo>
                  <a:cubicBezTo>
                    <a:pt x="11442" y="8555"/>
                    <a:pt x="5695" y="12804"/>
                    <a:pt x="-51" y="17227"/>
                  </a:cubicBezTo>
                  <a:lnTo>
                    <a:pt x="-51" y="34570"/>
                  </a:lnTo>
                  <a:cubicBezTo>
                    <a:pt x="16148" y="21814"/>
                    <a:pt x="33258" y="10250"/>
                    <a:pt x="51144" y="-30"/>
                  </a:cubicBezTo>
                  <a:cubicBezTo>
                    <a:pt x="39785" y="714"/>
                    <a:pt x="28495" y="2279"/>
                    <a:pt x="17362" y="4653"/>
                  </a:cubicBezTo>
                  <a:close/>
                </a:path>
              </a:pathLst>
            </a:custGeom>
            <a:solidFill>
              <a:schemeClr val="bg1"/>
            </a:solidFill>
            <a:ln w="10319" cap="flat">
              <a:noFill/>
              <a:prstDash val="solid"/>
              <a:miter/>
            </a:ln>
          </p:spPr>
          <p:txBody>
            <a:bodyPr rtlCol="0" anchor="ctr"/>
            <a:lstStyle/>
            <a:p>
              <a:endParaRPr lang="en-GB"/>
            </a:p>
          </p:txBody>
        </p:sp>
        <p:sp>
          <p:nvSpPr>
            <p:cNvPr id="15" name="Freeform 14">
              <a:extLst>
                <a:ext uri="{FF2B5EF4-FFF2-40B4-BE49-F238E27FC236}">
                  <a16:creationId xmlns:a16="http://schemas.microsoft.com/office/drawing/2014/main" id="{FA32AEDA-9B19-8D36-0066-D24CEE8C3E2C}"/>
                </a:ext>
              </a:extLst>
            </p:cNvPr>
            <p:cNvSpPr/>
            <p:nvPr userDrawn="1"/>
          </p:nvSpPr>
          <p:spPr>
            <a:xfrm>
              <a:off x="-3" y="6065298"/>
              <a:ext cx="215183" cy="362016"/>
            </a:xfrm>
            <a:custGeom>
              <a:avLst/>
              <a:gdLst>
                <a:gd name="connsiteX0" fmla="*/ 85797 w 180715"/>
                <a:gd name="connsiteY0" fmla="*/ 304001 h 304030"/>
                <a:gd name="connsiteX1" fmla="*/ 122452 w 180715"/>
                <a:gd name="connsiteY1" fmla="*/ 259948 h 304030"/>
                <a:gd name="connsiteX2" fmla="*/ 20584 w 180715"/>
                <a:gd name="connsiteY2" fmla="*/ 212167 h 304030"/>
                <a:gd name="connsiteX3" fmla="*/ 36256 w 180715"/>
                <a:gd name="connsiteY3" fmla="*/ 181816 h 304030"/>
                <a:gd name="connsiteX4" fmla="*/ 152490 w 180715"/>
                <a:gd name="connsiteY4" fmla="*/ 211820 h 304030"/>
                <a:gd name="connsiteX5" fmla="*/ 169904 w 180715"/>
                <a:gd name="connsiteY5" fmla="*/ 169762 h 304030"/>
                <a:gd name="connsiteX6" fmla="*/ 44440 w 180715"/>
                <a:gd name="connsiteY6" fmla="*/ 156581 h 304030"/>
                <a:gd name="connsiteX7" fmla="*/ 48097 w 180715"/>
                <a:gd name="connsiteY7" fmla="*/ 131520 h 304030"/>
                <a:gd name="connsiteX8" fmla="*/ 179307 w 180715"/>
                <a:gd name="connsiteY8" fmla="*/ 128485 h 304030"/>
                <a:gd name="connsiteX9" fmla="*/ 180178 w 180715"/>
                <a:gd name="connsiteY9" fmla="*/ 95099 h 304030"/>
                <a:gd name="connsiteX10" fmla="*/ 47313 w 180715"/>
                <a:gd name="connsiteY10" fmla="*/ 112442 h 304030"/>
                <a:gd name="connsiteX11" fmla="*/ 43221 w 180715"/>
                <a:gd name="connsiteY11" fmla="*/ 95099 h 304030"/>
                <a:gd name="connsiteX12" fmla="*/ 173822 w 180715"/>
                <a:gd name="connsiteY12" fmla="*/ 65181 h 304030"/>
                <a:gd name="connsiteX13" fmla="*/ 161458 w 180715"/>
                <a:gd name="connsiteY13" fmla="*/ 42201 h 304030"/>
                <a:gd name="connsiteX14" fmla="*/ 38171 w 180715"/>
                <a:gd name="connsiteY14" fmla="*/ 80704 h 304030"/>
                <a:gd name="connsiteX15" fmla="*/ 37214 w 180715"/>
                <a:gd name="connsiteY15" fmla="*/ 80704 h 304030"/>
                <a:gd name="connsiteX16" fmla="*/ 28507 w 180715"/>
                <a:gd name="connsiteY16" fmla="*/ 68824 h 304030"/>
                <a:gd name="connsiteX17" fmla="*/ 143087 w 180715"/>
                <a:gd name="connsiteY17" fmla="*/ 23297 h 304030"/>
                <a:gd name="connsiteX18" fmla="*/ 122713 w 180715"/>
                <a:gd name="connsiteY18" fmla="*/ 11157 h 304030"/>
                <a:gd name="connsiteX19" fmla="*/ 19713 w 180715"/>
                <a:gd name="connsiteY19" fmla="*/ 60152 h 304030"/>
                <a:gd name="connsiteX20" fmla="*/ 9265 w 180715"/>
                <a:gd name="connsiteY20" fmla="*/ 52781 h 304030"/>
                <a:gd name="connsiteX21" fmla="*/ 99205 w 180715"/>
                <a:gd name="connsiteY21" fmla="*/ 3352 h 304030"/>
                <a:gd name="connsiteX22" fmla="*/ 75958 w 180715"/>
                <a:gd name="connsiteY22" fmla="*/ -30 h 304030"/>
                <a:gd name="connsiteX23" fmla="*/ -51 w 180715"/>
                <a:gd name="connsiteY23" fmla="*/ 47751 h 304030"/>
                <a:gd name="connsiteX24" fmla="*/ -51 w 180715"/>
                <a:gd name="connsiteY24" fmla="*/ 47751 h 304030"/>
                <a:gd name="connsiteX25" fmla="*/ -51 w 180715"/>
                <a:gd name="connsiteY25" fmla="*/ 67610 h 304030"/>
                <a:gd name="connsiteX26" fmla="*/ 8656 w 180715"/>
                <a:gd name="connsiteY26" fmla="*/ 73940 h 304030"/>
                <a:gd name="connsiteX27" fmla="*/ -51 w 180715"/>
                <a:gd name="connsiteY27" fmla="*/ 203235 h 304030"/>
                <a:gd name="connsiteX28" fmla="*/ -51 w 180715"/>
                <a:gd name="connsiteY28" fmla="*/ 243385 h 304030"/>
                <a:gd name="connsiteX29" fmla="*/ 66033 w 180715"/>
                <a:gd name="connsiteY29" fmla="*/ 289345 h 304030"/>
                <a:gd name="connsiteX30" fmla="*/ 85797 w 180715"/>
                <a:gd name="connsiteY30" fmla="*/ 304001 h 30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0715" h="304030">
                  <a:moveTo>
                    <a:pt x="85797" y="304001"/>
                  </a:moveTo>
                  <a:cubicBezTo>
                    <a:pt x="98978" y="290138"/>
                    <a:pt x="111223" y="275422"/>
                    <a:pt x="122452" y="259948"/>
                  </a:cubicBezTo>
                  <a:cubicBezTo>
                    <a:pt x="94504" y="244253"/>
                    <a:pt x="20584" y="212167"/>
                    <a:pt x="20584" y="212167"/>
                  </a:cubicBezTo>
                  <a:cubicBezTo>
                    <a:pt x="26695" y="202529"/>
                    <a:pt x="31939" y="192373"/>
                    <a:pt x="36256" y="181816"/>
                  </a:cubicBezTo>
                  <a:cubicBezTo>
                    <a:pt x="52189" y="185458"/>
                    <a:pt x="112614" y="199940"/>
                    <a:pt x="152490" y="211820"/>
                  </a:cubicBezTo>
                  <a:cubicBezTo>
                    <a:pt x="159381" y="198272"/>
                    <a:pt x="165203" y="184210"/>
                    <a:pt x="169904" y="169762"/>
                  </a:cubicBezTo>
                  <a:cubicBezTo>
                    <a:pt x="128418" y="162633"/>
                    <a:pt x="86507" y="158229"/>
                    <a:pt x="44440" y="156581"/>
                  </a:cubicBezTo>
                  <a:cubicBezTo>
                    <a:pt x="46527" y="148376"/>
                    <a:pt x="47753" y="139978"/>
                    <a:pt x="48097" y="131520"/>
                  </a:cubicBezTo>
                  <a:cubicBezTo>
                    <a:pt x="51580" y="131520"/>
                    <a:pt x="141520" y="126491"/>
                    <a:pt x="179307" y="128485"/>
                  </a:cubicBezTo>
                  <a:cubicBezTo>
                    <a:pt x="180753" y="117416"/>
                    <a:pt x="181045" y="106227"/>
                    <a:pt x="180178" y="95099"/>
                  </a:cubicBezTo>
                  <a:cubicBezTo>
                    <a:pt x="135482" y="97185"/>
                    <a:pt x="91039" y="102987"/>
                    <a:pt x="47313" y="112442"/>
                  </a:cubicBezTo>
                  <a:cubicBezTo>
                    <a:pt x="46465" y="106552"/>
                    <a:pt x="45097" y="100749"/>
                    <a:pt x="43221" y="95099"/>
                  </a:cubicBezTo>
                  <a:cubicBezTo>
                    <a:pt x="85780" y="81295"/>
                    <a:pt x="129485" y="71284"/>
                    <a:pt x="173822" y="65181"/>
                  </a:cubicBezTo>
                  <a:cubicBezTo>
                    <a:pt x="170801" y="56982"/>
                    <a:pt x="166640" y="49247"/>
                    <a:pt x="161458" y="42201"/>
                  </a:cubicBezTo>
                  <a:cubicBezTo>
                    <a:pt x="119306" y="51399"/>
                    <a:pt x="78050" y="64283"/>
                    <a:pt x="38171" y="80704"/>
                  </a:cubicBezTo>
                  <a:lnTo>
                    <a:pt x="37214" y="80704"/>
                  </a:lnTo>
                  <a:cubicBezTo>
                    <a:pt x="34700" y="76476"/>
                    <a:pt x="31784" y="72497"/>
                    <a:pt x="28507" y="68824"/>
                  </a:cubicBezTo>
                  <a:cubicBezTo>
                    <a:pt x="65262" y="50278"/>
                    <a:pt x="103608" y="35042"/>
                    <a:pt x="143087" y="23297"/>
                  </a:cubicBezTo>
                  <a:cubicBezTo>
                    <a:pt x="136786" y="18485"/>
                    <a:pt x="129949" y="14412"/>
                    <a:pt x="122713" y="11157"/>
                  </a:cubicBezTo>
                  <a:cubicBezTo>
                    <a:pt x="86793" y="23950"/>
                    <a:pt x="52281" y="40367"/>
                    <a:pt x="19713" y="60152"/>
                  </a:cubicBezTo>
                  <a:cubicBezTo>
                    <a:pt x="16411" y="57449"/>
                    <a:pt x="12920" y="54986"/>
                    <a:pt x="9265" y="52781"/>
                  </a:cubicBezTo>
                  <a:cubicBezTo>
                    <a:pt x="37490" y="33320"/>
                    <a:pt x="67625" y="16759"/>
                    <a:pt x="99205" y="3352"/>
                  </a:cubicBezTo>
                  <a:cubicBezTo>
                    <a:pt x="91549" y="1667"/>
                    <a:pt x="83780" y="536"/>
                    <a:pt x="75958" y="-30"/>
                  </a:cubicBezTo>
                  <a:cubicBezTo>
                    <a:pt x="49002" y="13183"/>
                    <a:pt x="23523" y="29199"/>
                    <a:pt x="-51" y="47751"/>
                  </a:cubicBezTo>
                  <a:lnTo>
                    <a:pt x="-51" y="47751"/>
                  </a:lnTo>
                  <a:lnTo>
                    <a:pt x="-51" y="67610"/>
                  </a:lnTo>
                  <a:cubicBezTo>
                    <a:pt x="3050" y="69434"/>
                    <a:pt x="5966" y="71554"/>
                    <a:pt x="8656" y="73940"/>
                  </a:cubicBezTo>
                  <a:cubicBezTo>
                    <a:pt x="38258" y="100649"/>
                    <a:pt x="33470" y="155454"/>
                    <a:pt x="-51" y="203235"/>
                  </a:cubicBezTo>
                  <a:lnTo>
                    <a:pt x="-51" y="243385"/>
                  </a:lnTo>
                  <a:lnTo>
                    <a:pt x="66033" y="289345"/>
                  </a:lnTo>
                  <a:cubicBezTo>
                    <a:pt x="72417" y="293855"/>
                    <a:pt x="79006" y="298740"/>
                    <a:pt x="85797" y="304001"/>
                  </a:cubicBezTo>
                  <a:close/>
                </a:path>
              </a:pathLst>
            </a:custGeom>
            <a:solidFill>
              <a:schemeClr val="bg1"/>
            </a:solidFill>
            <a:ln w="10319" cap="flat">
              <a:noFill/>
              <a:prstDash val="solid"/>
              <a:miter/>
            </a:ln>
          </p:spPr>
          <p:txBody>
            <a:bodyPr rtlCol="0" anchor="ctr"/>
            <a:lstStyle/>
            <a:p>
              <a:endParaRPr lang="en-GB"/>
            </a:p>
          </p:txBody>
        </p:sp>
      </p:grpSp>
      <p:sp>
        <p:nvSpPr>
          <p:cNvPr id="28" name="Freeform 27">
            <a:extLst>
              <a:ext uri="{FF2B5EF4-FFF2-40B4-BE49-F238E27FC236}">
                <a16:creationId xmlns:a16="http://schemas.microsoft.com/office/drawing/2014/main" id="{421F36E5-F8A2-A342-084F-875E66E9FA10}"/>
              </a:ext>
            </a:extLst>
          </p:cNvPr>
          <p:cNvSpPr/>
          <p:nvPr userDrawn="1"/>
        </p:nvSpPr>
        <p:spPr>
          <a:xfrm flipH="1">
            <a:off x="403467" y="397247"/>
            <a:ext cx="1615630" cy="204538"/>
          </a:xfrm>
          <a:custGeom>
            <a:avLst/>
            <a:gdLst>
              <a:gd name="connsiteX0" fmla="*/ 507203 w 4793759"/>
              <a:gd name="connsiteY0" fmla="*/ 159935 h 606895"/>
              <a:gd name="connsiteX1" fmla="*/ 507203 w 4793759"/>
              <a:gd name="connsiteY1" fmla="*/ 434643 h 606895"/>
              <a:gd name="connsiteX2" fmla="*/ 350553 w 4793759"/>
              <a:gd name="connsiteY2" fmla="*/ 434643 h 606895"/>
              <a:gd name="connsiteX3" fmla="*/ 184217 w 4793759"/>
              <a:gd name="connsiteY3" fmla="*/ 297289 h 606895"/>
              <a:gd name="connsiteX4" fmla="*/ 350553 w 4793759"/>
              <a:gd name="connsiteY4" fmla="*/ 159935 h 606895"/>
              <a:gd name="connsiteX5" fmla="*/ 3836721 w 4793759"/>
              <a:gd name="connsiteY5" fmla="*/ 187 h 606895"/>
              <a:gd name="connsiteX6" fmla="*/ 3663120 w 4793759"/>
              <a:gd name="connsiteY6" fmla="*/ 187 h 606895"/>
              <a:gd name="connsiteX7" fmla="*/ 3335291 w 4793759"/>
              <a:gd name="connsiteY7" fmla="*/ 346184 h 606895"/>
              <a:gd name="connsiteX8" fmla="*/ 3335105 w 4793759"/>
              <a:gd name="connsiteY8" fmla="*/ 346184 h 606895"/>
              <a:gd name="connsiteX9" fmla="*/ 3335105 w 4793759"/>
              <a:gd name="connsiteY9" fmla="*/ 187 h 606895"/>
              <a:gd name="connsiteX10" fmla="*/ 3171190 w 4793759"/>
              <a:gd name="connsiteY10" fmla="*/ 187 h 606895"/>
              <a:gd name="connsiteX11" fmla="*/ 3171190 w 4793759"/>
              <a:gd name="connsiteY11" fmla="*/ 594952 h 606895"/>
              <a:gd name="connsiteX12" fmla="*/ 3314988 w 4793759"/>
              <a:gd name="connsiteY12" fmla="*/ 594952 h 606895"/>
              <a:gd name="connsiteX13" fmla="*/ 3672806 w 4793759"/>
              <a:gd name="connsiteY13" fmla="*/ 217975 h 606895"/>
              <a:gd name="connsiteX14" fmla="*/ 3672806 w 4793759"/>
              <a:gd name="connsiteY14" fmla="*/ 594952 h 606895"/>
              <a:gd name="connsiteX15" fmla="*/ 3836721 w 4793759"/>
              <a:gd name="connsiteY15" fmla="*/ 594952 h 606895"/>
              <a:gd name="connsiteX16" fmla="*/ 683226 w 4793759"/>
              <a:gd name="connsiteY16" fmla="*/ 0 h 606895"/>
              <a:gd name="connsiteX17" fmla="*/ 344034 w 4793759"/>
              <a:gd name="connsiteY17" fmla="*/ 0 h 606895"/>
              <a:gd name="connsiteX18" fmla="*/ 0 w 4793759"/>
              <a:gd name="connsiteY18" fmla="*/ 297289 h 606895"/>
              <a:gd name="connsiteX19" fmla="*/ 344034 w 4793759"/>
              <a:gd name="connsiteY19" fmla="*/ 594578 h 606895"/>
              <a:gd name="connsiteX20" fmla="*/ 683226 w 4793759"/>
              <a:gd name="connsiteY20" fmla="*/ 594578 h 606895"/>
              <a:gd name="connsiteX21" fmla="*/ 1533533 w 4793759"/>
              <a:gd name="connsiteY21" fmla="*/ 0 h 606895"/>
              <a:gd name="connsiteX22" fmla="*/ 963371 w 4793759"/>
              <a:gd name="connsiteY22" fmla="*/ 0 h 606895"/>
              <a:gd name="connsiteX23" fmla="*/ 963371 w 4793759"/>
              <a:gd name="connsiteY23" fmla="*/ 145565 h 606895"/>
              <a:gd name="connsiteX24" fmla="*/ 1357511 w 4793759"/>
              <a:gd name="connsiteY24" fmla="*/ 145565 h 606895"/>
              <a:gd name="connsiteX25" fmla="*/ 1357511 w 4793759"/>
              <a:gd name="connsiteY25" fmla="*/ 234211 h 606895"/>
              <a:gd name="connsiteX26" fmla="*/ 991683 w 4793759"/>
              <a:gd name="connsiteY26" fmla="*/ 234211 h 606895"/>
              <a:gd name="connsiteX27" fmla="*/ 991683 w 4793759"/>
              <a:gd name="connsiteY27" fmla="*/ 360367 h 606895"/>
              <a:gd name="connsiteX28" fmla="*/ 1357511 w 4793759"/>
              <a:gd name="connsiteY28" fmla="*/ 360367 h 606895"/>
              <a:gd name="connsiteX29" fmla="*/ 1357511 w 4793759"/>
              <a:gd name="connsiteY29" fmla="*/ 360554 h 606895"/>
              <a:gd name="connsiteX30" fmla="*/ 1357511 w 4793759"/>
              <a:gd name="connsiteY30" fmla="*/ 449200 h 606895"/>
              <a:gd name="connsiteX31" fmla="*/ 960204 w 4793759"/>
              <a:gd name="connsiteY31" fmla="*/ 449200 h 606895"/>
              <a:gd name="connsiteX32" fmla="*/ 960204 w 4793759"/>
              <a:gd name="connsiteY32" fmla="*/ 594765 h 606895"/>
              <a:gd name="connsiteX33" fmla="*/ 1533533 w 4793759"/>
              <a:gd name="connsiteY33" fmla="*/ 594765 h 606895"/>
              <a:gd name="connsiteX34" fmla="*/ 2427613 w 4793759"/>
              <a:gd name="connsiteY34" fmla="*/ 0 h 606895"/>
              <a:gd name="connsiteX35" fmla="*/ 1794493 w 4793759"/>
              <a:gd name="connsiteY35" fmla="*/ 0 h 606895"/>
              <a:gd name="connsiteX36" fmla="*/ 1794493 w 4793759"/>
              <a:gd name="connsiteY36" fmla="*/ 159935 h 606895"/>
              <a:gd name="connsiteX37" fmla="*/ 2023042 w 4793759"/>
              <a:gd name="connsiteY37" fmla="*/ 159935 h 606895"/>
              <a:gd name="connsiteX38" fmla="*/ 2023042 w 4793759"/>
              <a:gd name="connsiteY38" fmla="*/ 594578 h 606895"/>
              <a:gd name="connsiteX39" fmla="*/ 2199064 w 4793759"/>
              <a:gd name="connsiteY39" fmla="*/ 594578 h 606895"/>
              <a:gd name="connsiteX40" fmla="*/ 2199064 w 4793759"/>
              <a:gd name="connsiteY40" fmla="*/ 159935 h 606895"/>
              <a:gd name="connsiteX41" fmla="*/ 2427613 w 4793759"/>
              <a:gd name="connsiteY41" fmla="*/ 159935 h 606895"/>
              <a:gd name="connsiteX42" fmla="*/ 2864409 w 4793759"/>
              <a:gd name="connsiteY42" fmla="*/ 0 h 606895"/>
              <a:gd name="connsiteX43" fmla="*/ 2688387 w 4793759"/>
              <a:gd name="connsiteY43" fmla="*/ 0 h 606895"/>
              <a:gd name="connsiteX44" fmla="*/ 2688387 w 4793759"/>
              <a:gd name="connsiteY44" fmla="*/ 594765 h 606895"/>
              <a:gd name="connsiteX45" fmla="*/ 2864409 w 4793759"/>
              <a:gd name="connsiteY45" fmla="*/ 594765 h 606895"/>
              <a:gd name="connsiteX46" fmla="*/ 4793759 w 4793759"/>
              <a:gd name="connsiteY46" fmla="*/ 0 h 606895"/>
              <a:gd name="connsiteX47" fmla="*/ 4617737 w 4793759"/>
              <a:gd name="connsiteY47" fmla="*/ 0 h 606895"/>
              <a:gd name="connsiteX48" fmla="*/ 4617737 w 4793759"/>
              <a:gd name="connsiteY48" fmla="*/ 294490 h 606895"/>
              <a:gd name="connsiteX49" fmla="*/ 4460714 w 4793759"/>
              <a:gd name="connsiteY49" fmla="*/ 455545 h 606895"/>
              <a:gd name="connsiteX50" fmla="*/ 4303691 w 4793759"/>
              <a:gd name="connsiteY50" fmla="*/ 294490 h 606895"/>
              <a:gd name="connsiteX51" fmla="*/ 4303691 w 4793759"/>
              <a:gd name="connsiteY51" fmla="*/ 0 h 606895"/>
              <a:gd name="connsiteX52" fmla="*/ 4127669 w 4793759"/>
              <a:gd name="connsiteY52" fmla="*/ 0 h 606895"/>
              <a:gd name="connsiteX53" fmla="*/ 4127669 w 4793759"/>
              <a:gd name="connsiteY53" fmla="*/ 303448 h 606895"/>
              <a:gd name="connsiteX54" fmla="*/ 4460714 w 4793759"/>
              <a:gd name="connsiteY54" fmla="*/ 606895 h 606895"/>
              <a:gd name="connsiteX55" fmla="*/ 4793759 w 4793759"/>
              <a:gd name="connsiteY55" fmla="*/ 303448 h 60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793759" h="606895">
                <a:moveTo>
                  <a:pt x="507203" y="159935"/>
                </a:moveTo>
                <a:lnTo>
                  <a:pt x="507203" y="434643"/>
                </a:lnTo>
                <a:lnTo>
                  <a:pt x="350553" y="434643"/>
                </a:lnTo>
                <a:cubicBezTo>
                  <a:pt x="235813" y="434643"/>
                  <a:pt x="184217" y="392653"/>
                  <a:pt x="184217" y="297289"/>
                </a:cubicBezTo>
                <a:cubicBezTo>
                  <a:pt x="184217" y="201925"/>
                  <a:pt x="235813" y="159935"/>
                  <a:pt x="350553" y="159935"/>
                </a:cubicBezTo>
                <a:close/>
                <a:moveTo>
                  <a:pt x="3836721" y="187"/>
                </a:moveTo>
                <a:lnTo>
                  <a:pt x="3663120" y="187"/>
                </a:lnTo>
                <a:lnTo>
                  <a:pt x="3335291" y="346184"/>
                </a:lnTo>
                <a:lnTo>
                  <a:pt x="3335105" y="346184"/>
                </a:lnTo>
                <a:lnTo>
                  <a:pt x="3335105" y="187"/>
                </a:lnTo>
                <a:lnTo>
                  <a:pt x="3171190" y="187"/>
                </a:lnTo>
                <a:lnTo>
                  <a:pt x="3171190" y="594952"/>
                </a:lnTo>
                <a:lnTo>
                  <a:pt x="3314988" y="594952"/>
                </a:lnTo>
                <a:lnTo>
                  <a:pt x="3672806" y="217975"/>
                </a:lnTo>
                <a:lnTo>
                  <a:pt x="3672806" y="594952"/>
                </a:lnTo>
                <a:lnTo>
                  <a:pt x="3836721" y="594952"/>
                </a:lnTo>
                <a:close/>
                <a:moveTo>
                  <a:pt x="683226" y="0"/>
                </a:moveTo>
                <a:lnTo>
                  <a:pt x="344034" y="0"/>
                </a:lnTo>
                <a:cubicBezTo>
                  <a:pt x="108220" y="0"/>
                  <a:pt x="0" y="102642"/>
                  <a:pt x="0" y="297289"/>
                </a:cubicBezTo>
                <a:cubicBezTo>
                  <a:pt x="0" y="491936"/>
                  <a:pt x="108220" y="594578"/>
                  <a:pt x="344034" y="594578"/>
                </a:cubicBezTo>
                <a:lnTo>
                  <a:pt x="683226" y="594578"/>
                </a:lnTo>
                <a:close/>
                <a:moveTo>
                  <a:pt x="1533533" y="0"/>
                </a:moveTo>
                <a:lnTo>
                  <a:pt x="963371" y="0"/>
                </a:lnTo>
                <a:lnTo>
                  <a:pt x="963371" y="145565"/>
                </a:lnTo>
                <a:lnTo>
                  <a:pt x="1357511" y="145565"/>
                </a:lnTo>
                <a:lnTo>
                  <a:pt x="1357511" y="234211"/>
                </a:lnTo>
                <a:lnTo>
                  <a:pt x="991683" y="234211"/>
                </a:lnTo>
                <a:lnTo>
                  <a:pt x="991683" y="360367"/>
                </a:lnTo>
                <a:lnTo>
                  <a:pt x="1357511" y="360367"/>
                </a:lnTo>
                <a:lnTo>
                  <a:pt x="1357511" y="360554"/>
                </a:lnTo>
                <a:lnTo>
                  <a:pt x="1357511" y="449200"/>
                </a:lnTo>
                <a:lnTo>
                  <a:pt x="960204" y="449200"/>
                </a:lnTo>
                <a:lnTo>
                  <a:pt x="960204" y="594765"/>
                </a:lnTo>
                <a:lnTo>
                  <a:pt x="1533533" y="594765"/>
                </a:lnTo>
                <a:close/>
                <a:moveTo>
                  <a:pt x="2427613" y="0"/>
                </a:moveTo>
                <a:lnTo>
                  <a:pt x="1794493" y="0"/>
                </a:lnTo>
                <a:lnTo>
                  <a:pt x="1794493" y="159935"/>
                </a:lnTo>
                <a:lnTo>
                  <a:pt x="2023042" y="159935"/>
                </a:lnTo>
                <a:lnTo>
                  <a:pt x="2023042" y="594578"/>
                </a:lnTo>
                <a:lnTo>
                  <a:pt x="2199064" y="594578"/>
                </a:lnTo>
                <a:lnTo>
                  <a:pt x="2199064" y="159935"/>
                </a:lnTo>
                <a:lnTo>
                  <a:pt x="2427613" y="159935"/>
                </a:lnTo>
                <a:close/>
                <a:moveTo>
                  <a:pt x="2864409" y="0"/>
                </a:moveTo>
                <a:lnTo>
                  <a:pt x="2688387" y="0"/>
                </a:lnTo>
                <a:lnTo>
                  <a:pt x="2688387" y="594765"/>
                </a:lnTo>
                <a:lnTo>
                  <a:pt x="2864409" y="594765"/>
                </a:lnTo>
                <a:close/>
                <a:moveTo>
                  <a:pt x="4793759" y="0"/>
                </a:moveTo>
                <a:lnTo>
                  <a:pt x="4617737" y="0"/>
                </a:lnTo>
                <a:lnTo>
                  <a:pt x="4617737" y="294490"/>
                </a:lnTo>
                <a:cubicBezTo>
                  <a:pt x="4617737" y="407770"/>
                  <a:pt x="4564092" y="455545"/>
                  <a:pt x="4460714" y="455545"/>
                </a:cubicBezTo>
                <a:cubicBezTo>
                  <a:pt x="4357336" y="455545"/>
                  <a:pt x="4303691" y="407770"/>
                  <a:pt x="4303691" y="294490"/>
                </a:cubicBezTo>
                <a:lnTo>
                  <a:pt x="4303691" y="0"/>
                </a:lnTo>
                <a:lnTo>
                  <a:pt x="4127669" y="0"/>
                </a:lnTo>
                <a:lnTo>
                  <a:pt x="4127669" y="303448"/>
                </a:lnTo>
                <a:cubicBezTo>
                  <a:pt x="4127669" y="515450"/>
                  <a:pt x="4234586" y="606895"/>
                  <a:pt x="4460714" y="606895"/>
                </a:cubicBezTo>
                <a:cubicBezTo>
                  <a:pt x="4686842" y="606895"/>
                  <a:pt x="4793759" y="515450"/>
                  <a:pt x="4793759" y="3034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Picture Placeholder 5">
            <a:extLst>
              <a:ext uri="{FF2B5EF4-FFF2-40B4-BE49-F238E27FC236}">
                <a16:creationId xmlns:a16="http://schemas.microsoft.com/office/drawing/2014/main" id="{A0EB32FB-3B0D-A440-BE50-960E6C46CF61}"/>
              </a:ext>
            </a:extLst>
          </p:cNvPr>
          <p:cNvSpPr>
            <a:spLocks noGrp="1"/>
          </p:cNvSpPr>
          <p:nvPr>
            <p:ph type="pic" sz="quarter" idx="10" hasCustomPrompt="1"/>
          </p:nvPr>
        </p:nvSpPr>
        <p:spPr>
          <a:xfrm>
            <a:off x="6867524" y="0"/>
            <a:ext cx="5324476" cy="6859588"/>
          </a:xfrm>
          <a:blipFill dpi="0" rotWithShape="1">
            <a:blip r:embed="rId2"/>
            <a:srcRect/>
            <a:tile tx="0" ty="0" sx="100000" sy="100000" flip="none" algn="tl"/>
          </a:blipFill>
        </p:spPr>
        <p:txBody>
          <a:bodyPr lIns="72000" tIns="36000"/>
          <a:lstStyle>
            <a:lvl1pPr>
              <a:defRPr>
                <a:solidFill>
                  <a:schemeClr val="bg1"/>
                </a:solidFill>
              </a:defRPr>
            </a:lvl1pPr>
          </a:lstStyle>
          <a:p>
            <a:r>
              <a:rPr lang="en-US"/>
              <a:t>Insert image here or delete</a:t>
            </a:r>
          </a:p>
        </p:txBody>
      </p:sp>
    </p:spTree>
    <p:extLst>
      <p:ext uri="{BB962C8B-B14F-4D97-AF65-F5344CB8AC3E}">
        <p14:creationId xmlns:p14="http://schemas.microsoft.com/office/powerpoint/2010/main" val="247834030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D7F249DF-6EDE-2C4A-EC71-B97546589460}"/>
              </a:ext>
            </a:extLst>
          </p:cNvPr>
          <p:cNvSpPr>
            <a:spLocks noGrp="1"/>
          </p:cNvSpPr>
          <p:nvPr>
            <p:ph type="ctrTitle"/>
          </p:nvPr>
        </p:nvSpPr>
        <p:spPr>
          <a:xfrm>
            <a:off x="391160" y="1153160"/>
            <a:ext cx="6082665" cy="1384995"/>
          </a:xfrm>
        </p:spPr>
        <p:txBody>
          <a:bodyPr wrap="square" anchor="t">
            <a:spAutoFit/>
          </a:bodyPr>
          <a:lstStyle>
            <a:lvl1pPr algn="l">
              <a:defRPr sz="5000" b="0">
                <a:solidFill>
                  <a:schemeClr val="tx2"/>
                </a:solidFill>
              </a:defRPr>
            </a:lvl1pPr>
          </a:lstStyle>
          <a:p>
            <a:r>
              <a:rPr lang="en-GB"/>
              <a:t>Click to edit Master title style</a:t>
            </a:r>
          </a:p>
        </p:txBody>
      </p:sp>
      <p:sp>
        <p:nvSpPr>
          <p:cNvPr id="17" name="Subtitle 2">
            <a:extLst>
              <a:ext uri="{FF2B5EF4-FFF2-40B4-BE49-F238E27FC236}">
                <a16:creationId xmlns:a16="http://schemas.microsoft.com/office/drawing/2014/main" id="{26C50BAF-9A1D-1897-0379-34597A8D6868}"/>
              </a:ext>
            </a:extLst>
          </p:cNvPr>
          <p:cNvSpPr>
            <a:spLocks noGrp="1"/>
          </p:cNvSpPr>
          <p:nvPr>
            <p:ph type="subTitle" idx="1"/>
          </p:nvPr>
        </p:nvSpPr>
        <p:spPr>
          <a:xfrm>
            <a:off x="391160" y="3060005"/>
            <a:ext cx="4180840" cy="1127820"/>
          </a:xfrm>
        </p:spPr>
        <p:txBody>
          <a:bodyPr>
            <a:normAutofit/>
          </a:bodyPr>
          <a:lstStyle>
            <a:lvl1pPr marL="0" indent="0" algn="l">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0" name="Freeform 19">
            <a:extLst>
              <a:ext uri="{FF2B5EF4-FFF2-40B4-BE49-F238E27FC236}">
                <a16:creationId xmlns:a16="http://schemas.microsoft.com/office/drawing/2014/main" id="{A51415B6-AB71-F27A-A3A8-78AA1200CDCB}"/>
              </a:ext>
            </a:extLst>
          </p:cNvPr>
          <p:cNvSpPr/>
          <p:nvPr userDrawn="1"/>
        </p:nvSpPr>
        <p:spPr>
          <a:xfrm flipH="1">
            <a:off x="403467" y="397247"/>
            <a:ext cx="1615630" cy="204538"/>
          </a:xfrm>
          <a:custGeom>
            <a:avLst/>
            <a:gdLst>
              <a:gd name="connsiteX0" fmla="*/ 507203 w 4793759"/>
              <a:gd name="connsiteY0" fmla="*/ 159935 h 606895"/>
              <a:gd name="connsiteX1" fmla="*/ 507203 w 4793759"/>
              <a:gd name="connsiteY1" fmla="*/ 434643 h 606895"/>
              <a:gd name="connsiteX2" fmla="*/ 350553 w 4793759"/>
              <a:gd name="connsiteY2" fmla="*/ 434643 h 606895"/>
              <a:gd name="connsiteX3" fmla="*/ 184217 w 4793759"/>
              <a:gd name="connsiteY3" fmla="*/ 297289 h 606895"/>
              <a:gd name="connsiteX4" fmla="*/ 350553 w 4793759"/>
              <a:gd name="connsiteY4" fmla="*/ 159935 h 606895"/>
              <a:gd name="connsiteX5" fmla="*/ 3836721 w 4793759"/>
              <a:gd name="connsiteY5" fmla="*/ 187 h 606895"/>
              <a:gd name="connsiteX6" fmla="*/ 3663120 w 4793759"/>
              <a:gd name="connsiteY6" fmla="*/ 187 h 606895"/>
              <a:gd name="connsiteX7" fmla="*/ 3335291 w 4793759"/>
              <a:gd name="connsiteY7" fmla="*/ 346184 h 606895"/>
              <a:gd name="connsiteX8" fmla="*/ 3335105 w 4793759"/>
              <a:gd name="connsiteY8" fmla="*/ 346184 h 606895"/>
              <a:gd name="connsiteX9" fmla="*/ 3335105 w 4793759"/>
              <a:gd name="connsiteY9" fmla="*/ 187 h 606895"/>
              <a:gd name="connsiteX10" fmla="*/ 3171190 w 4793759"/>
              <a:gd name="connsiteY10" fmla="*/ 187 h 606895"/>
              <a:gd name="connsiteX11" fmla="*/ 3171190 w 4793759"/>
              <a:gd name="connsiteY11" fmla="*/ 594952 h 606895"/>
              <a:gd name="connsiteX12" fmla="*/ 3314988 w 4793759"/>
              <a:gd name="connsiteY12" fmla="*/ 594952 h 606895"/>
              <a:gd name="connsiteX13" fmla="*/ 3672806 w 4793759"/>
              <a:gd name="connsiteY13" fmla="*/ 217975 h 606895"/>
              <a:gd name="connsiteX14" fmla="*/ 3672806 w 4793759"/>
              <a:gd name="connsiteY14" fmla="*/ 594952 h 606895"/>
              <a:gd name="connsiteX15" fmla="*/ 3836721 w 4793759"/>
              <a:gd name="connsiteY15" fmla="*/ 594952 h 606895"/>
              <a:gd name="connsiteX16" fmla="*/ 683226 w 4793759"/>
              <a:gd name="connsiteY16" fmla="*/ 0 h 606895"/>
              <a:gd name="connsiteX17" fmla="*/ 344034 w 4793759"/>
              <a:gd name="connsiteY17" fmla="*/ 0 h 606895"/>
              <a:gd name="connsiteX18" fmla="*/ 0 w 4793759"/>
              <a:gd name="connsiteY18" fmla="*/ 297289 h 606895"/>
              <a:gd name="connsiteX19" fmla="*/ 344034 w 4793759"/>
              <a:gd name="connsiteY19" fmla="*/ 594578 h 606895"/>
              <a:gd name="connsiteX20" fmla="*/ 683226 w 4793759"/>
              <a:gd name="connsiteY20" fmla="*/ 594578 h 606895"/>
              <a:gd name="connsiteX21" fmla="*/ 1533533 w 4793759"/>
              <a:gd name="connsiteY21" fmla="*/ 0 h 606895"/>
              <a:gd name="connsiteX22" fmla="*/ 963371 w 4793759"/>
              <a:gd name="connsiteY22" fmla="*/ 0 h 606895"/>
              <a:gd name="connsiteX23" fmla="*/ 963371 w 4793759"/>
              <a:gd name="connsiteY23" fmla="*/ 145565 h 606895"/>
              <a:gd name="connsiteX24" fmla="*/ 1357511 w 4793759"/>
              <a:gd name="connsiteY24" fmla="*/ 145565 h 606895"/>
              <a:gd name="connsiteX25" fmla="*/ 1357511 w 4793759"/>
              <a:gd name="connsiteY25" fmla="*/ 234211 h 606895"/>
              <a:gd name="connsiteX26" fmla="*/ 991683 w 4793759"/>
              <a:gd name="connsiteY26" fmla="*/ 234211 h 606895"/>
              <a:gd name="connsiteX27" fmla="*/ 991683 w 4793759"/>
              <a:gd name="connsiteY27" fmla="*/ 360367 h 606895"/>
              <a:gd name="connsiteX28" fmla="*/ 1357511 w 4793759"/>
              <a:gd name="connsiteY28" fmla="*/ 360367 h 606895"/>
              <a:gd name="connsiteX29" fmla="*/ 1357511 w 4793759"/>
              <a:gd name="connsiteY29" fmla="*/ 360554 h 606895"/>
              <a:gd name="connsiteX30" fmla="*/ 1357511 w 4793759"/>
              <a:gd name="connsiteY30" fmla="*/ 449200 h 606895"/>
              <a:gd name="connsiteX31" fmla="*/ 960204 w 4793759"/>
              <a:gd name="connsiteY31" fmla="*/ 449200 h 606895"/>
              <a:gd name="connsiteX32" fmla="*/ 960204 w 4793759"/>
              <a:gd name="connsiteY32" fmla="*/ 594765 h 606895"/>
              <a:gd name="connsiteX33" fmla="*/ 1533533 w 4793759"/>
              <a:gd name="connsiteY33" fmla="*/ 594765 h 606895"/>
              <a:gd name="connsiteX34" fmla="*/ 2427613 w 4793759"/>
              <a:gd name="connsiteY34" fmla="*/ 0 h 606895"/>
              <a:gd name="connsiteX35" fmla="*/ 1794493 w 4793759"/>
              <a:gd name="connsiteY35" fmla="*/ 0 h 606895"/>
              <a:gd name="connsiteX36" fmla="*/ 1794493 w 4793759"/>
              <a:gd name="connsiteY36" fmla="*/ 159935 h 606895"/>
              <a:gd name="connsiteX37" fmla="*/ 2023042 w 4793759"/>
              <a:gd name="connsiteY37" fmla="*/ 159935 h 606895"/>
              <a:gd name="connsiteX38" fmla="*/ 2023042 w 4793759"/>
              <a:gd name="connsiteY38" fmla="*/ 594578 h 606895"/>
              <a:gd name="connsiteX39" fmla="*/ 2199064 w 4793759"/>
              <a:gd name="connsiteY39" fmla="*/ 594578 h 606895"/>
              <a:gd name="connsiteX40" fmla="*/ 2199064 w 4793759"/>
              <a:gd name="connsiteY40" fmla="*/ 159935 h 606895"/>
              <a:gd name="connsiteX41" fmla="*/ 2427613 w 4793759"/>
              <a:gd name="connsiteY41" fmla="*/ 159935 h 606895"/>
              <a:gd name="connsiteX42" fmla="*/ 2864409 w 4793759"/>
              <a:gd name="connsiteY42" fmla="*/ 0 h 606895"/>
              <a:gd name="connsiteX43" fmla="*/ 2688387 w 4793759"/>
              <a:gd name="connsiteY43" fmla="*/ 0 h 606895"/>
              <a:gd name="connsiteX44" fmla="*/ 2688387 w 4793759"/>
              <a:gd name="connsiteY44" fmla="*/ 594765 h 606895"/>
              <a:gd name="connsiteX45" fmla="*/ 2864409 w 4793759"/>
              <a:gd name="connsiteY45" fmla="*/ 594765 h 606895"/>
              <a:gd name="connsiteX46" fmla="*/ 4793759 w 4793759"/>
              <a:gd name="connsiteY46" fmla="*/ 0 h 606895"/>
              <a:gd name="connsiteX47" fmla="*/ 4617737 w 4793759"/>
              <a:gd name="connsiteY47" fmla="*/ 0 h 606895"/>
              <a:gd name="connsiteX48" fmla="*/ 4617737 w 4793759"/>
              <a:gd name="connsiteY48" fmla="*/ 294490 h 606895"/>
              <a:gd name="connsiteX49" fmla="*/ 4460714 w 4793759"/>
              <a:gd name="connsiteY49" fmla="*/ 455545 h 606895"/>
              <a:gd name="connsiteX50" fmla="*/ 4303691 w 4793759"/>
              <a:gd name="connsiteY50" fmla="*/ 294490 h 606895"/>
              <a:gd name="connsiteX51" fmla="*/ 4303691 w 4793759"/>
              <a:gd name="connsiteY51" fmla="*/ 0 h 606895"/>
              <a:gd name="connsiteX52" fmla="*/ 4127669 w 4793759"/>
              <a:gd name="connsiteY52" fmla="*/ 0 h 606895"/>
              <a:gd name="connsiteX53" fmla="*/ 4127669 w 4793759"/>
              <a:gd name="connsiteY53" fmla="*/ 303448 h 606895"/>
              <a:gd name="connsiteX54" fmla="*/ 4460714 w 4793759"/>
              <a:gd name="connsiteY54" fmla="*/ 606895 h 606895"/>
              <a:gd name="connsiteX55" fmla="*/ 4793759 w 4793759"/>
              <a:gd name="connsiteY55" fmla="*/ 303448 h 60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793759" h="606895">
                <a:moveTo>
                  <a:pt x="507203" y="159935"/>
                </a:moveTo>
                <a:lnTo>
                  <a:pt x="507203" y="434643"/>
                </a:lnTo>
                <a:lnTo>
                  <a:pt x="350553" y="434643"/>
                </a:lnTo>
                <a:cubicBezTo>
                  <a:pt x="235813" y="434643"/>
                  <a:pt x="184217" y="392653"/>
                  <a:pt x="184217" y="297289"/>
                </a:cubicBezTo>
                <a:cubicBezTo>
                  <a:pt x="184217" y="201925"/>
                  <a:pt x="235813" y="159935"/>
                  <a:pt x="350553" y="159935"/>
                </a:cubicBezTo>
                <a:close/>
                <a:moveTo>
                  <a:pt x="3836721" y="187"/>
                </a:moveTo>
                <a:lnTo>
                  <a:pt x="3663120" y="187"/>
                </a:lnTo>
                <a:lnTo>
                  <a:pt x="3335291" y="346184"/>
                </a:lnTo>
                <a:lnTo>
                  <a:pt x="3335105" y="346184"/>
                </a:lnTo>
                <a:lnTo>
                  <a:pt x="3335105" y="187"/>
                </a:lnTo>
                <a:lnTo>
                  <a:pt x="3171190" y="187"/>
                </a:lnTo>
                <a:lnTo>
                  <a:pt x="3171190" y="594952"/>
                </a:lnTo>
                <a:lnTo>
                  <a:pt x="3314988" y="594952"/>
                </a:lnTo>
                <a:lnTo>
                  <a:pt x="3672806" y="217975"/>
                </a:lnTo>
                <a:lnTo>
                  <a:pt x="3672806" y="594952"/>
                </a:lnTo>
                <a:lnTo>
                  <a:pt x="3836721" y="594952"/>
                </a:lnTo>
                <a:close/>
                <a:moveTo>
                  <a:pt x="683226" y="0"/>
                </a:moveTo>
                <a:lnTo>
                  <a:pt x="344034" y="0"/>
                </a:lnTo>
                <a:cubicBezTo>
                  <a:pt x="108220" y="0"/>
                  <a:pt x="0" y="102642"/>
                  <a:pt x="0" y="297289"/>
                </a:cubicBezTo>
                <a:cubicBezTo>
                  <a:pt x="0" y="491936"/>
                  <a:pt x="108220" y="594578"/>
                  <a:pt x="344034" y="594578"/>
                </a:cubicBezTo>
                <a:lnTo>
                  <a:pt x="683226" y="594578"/>
                </a:lnTo>
                <a:close/>
                <a:moveTo>
                  <a:pt x="1533533" y="0"/>
                </a:moveTo>
                <a:lnTo>
                  <a:pt x="963371" y="0"/>
                </a:lnTo>
                <a:lnTo>
                  <a:pt x="963371" y="145565"/>
                </a:lnTo>
                <a:lnTo>
                  <a:pt x="1357511" y="145565"/>
                </a:lnTo>
                <a:lnTo>
                  <a:pt x="1357511" y="234211"/>
                </a:lnTo>
                <a:lnTo>
                  <a:pt x="991683" y="234211"/>
                </a:lnTo>
                <a:lnTo>
                  <a:pt x="991683" y="360367"/>
                </a:lnTo>
                <a:lnTo>
                  <a:pt x="1357511" y="360367"/>
                </a:lnTo>
                <a:lnTo>
                  <a:pt x="1357511" y="360554"/>
                </a:lnTo>
                <a:lnTo>
                  <a:pt x="1357511" y="449200"/>
                </a:lnTo>
                <a:lnTo>
                  <a:pt x="960204" y="449200"/>
                </a:lnTo>
                <a:lnTo>
                  <a:pt x="960204" y="594765"/>
                </a:lnTo>
                <a:lnTo>
                  <a:pt x="1533533" y="594765"/>
                </a:lnTo>
                <a:close/>
                <a:moveTo>
                  <a:pt x="2427613" y="0"/>
                </a:moveTo>
                <a:lnTo>
                  <a:pt x="1794493" y="0"/>
                </a:lnTo>
                <a:lnTo>
                  <a:pt x="1794493" y="159935"/>
                </a:lnTo>
                <a:lnTo>
                  <a:pt x="2023042" y="159935"/>
                </a:lnTo>
                <a:lnTo>
                  <a:pt x="2023042" y="594578"/>
                </a:lnTo>
                <a:lnTo>
                  <a:pt x="2199064" y="594578"/>
                </a:lnTo>
                <a:lnTo>
                  <a:pt x="2199064" y="159935"/>
                </a:lnTo>
                <a:lnTo>
                  <a:pt x="2427613" y="159935"/>
                </a:lnTo>
                <a:close/>
                <a:moveTo>
                  <a:pt x="2864409" y="0"/>
                </a:moveTo>
                <a:lnTo>
                  <a:pt x="2688387" y="0"/>
                </a:lnTo>
                <a:lnTo>
                  <a:pt x="2688387" y="594765"/>
                </a:lnTo>
                <a:lnTo>
                  <a:pt x="2864409" y="594765"/>
                </a:lnTo>
                <a:close/>
                <a:moveTo>
                  <a:pt x="4793759" y="0"/>
                </a:moveTo>
                <a:lnTo>
                  <a:pt x="4617737" y="0"/>
                </a:lnTo>
                <a:lnTo>
                  <a:pt x="4617737" y="294490"/>
                </a:lnTo>
                <a:cubicBezTo>
                  <a:pt x="4617737" y="407770"/>
                  <a:pt x="4564092" y="455545"/>
                  <a:pt x="4460714" y="455545"/>
                </a:cubicBezTo>
                <a:cubicBezTo>
                  <a:pt x="4357336" y="455545"/>
                  <a:pt x="4303691" y="407770"/>
                  <a:pt x="4303691" y="294490"/>
                </a:cubicBezTo>
                <a:lnTo>
                  <a:pt x="4303691" y="0"/>
                </a:lnTo>
                <a:lnTo>
                  <a:pt x="4127669" y="0"/>
                </a:lnTo>
                <a:lnTo>
                  <a:pt x="4127669" y="303448"/>
                </a:lnTo>
                <a:cubicBezTo>
                  <a:pt x="4127669" y="515450"/>
                  <a:pt x="4234586" y="606895"/>
                  <a:pt x="4460714" y="606895"/>
                </a:cubicBezTo>
                <a:cubicBezTo>
                  <a:pt x="4686842" y="606895"/>
                  <a:pt x="4793759" y="515450"/>
                  <a:pt x="4793759" y="30344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nvGrpSpPr>
          <p:cNvPr id="12" name="Group 11">
            <a:extLst>
              <a:ext uri="{FF2B5EF4-FFF2-40B4-BE49-F238E27FC236}">
                <a16:creationId xmlns:a16="http://schemas.microsoft.com/office/drawing/2014/main" id="{A5707C17-7721-E287-4D04-CCBC5593C06F}"/>
              </a:ext>
            </a:extLst>
          </p:cNvPr>
          <p:cNvGrpSpPr/>
          <p:nvPr userDrawn="1"/>
        </p:nvGrpSpPr>
        <p:grpSpPr>
          <a:xfrm>
            <a:off x="391160" y="5604603"/>
            <a:ext cx="861106" cy="867635"/>
            <a:chOff x="235053" y="5570710"/>
            <a:chExt cx="1070162" cy="1078276"/>
          </a:xfrm>
        </p:grpSpPr>
        <p:sp>
          <p:nvSpPr>
            <p:cNvPr id="13" name="Rectangle 12">
              <a:extLst>
                <a:ext uri="{FF2B5EF4-FFF2-40B4-BE49-F238E27FC236}">
                  <a16:creationId xmlns:a16="http://schemas.microsoft.com/office/drawing/2014/main" id="{193D6EC0-9D43-02C9-28AA-6EA2167F8FCE}"/>
                </a:ext>
              </a:extLst>
            </p:cNvPr>
            <p:cNvSpPr/>
            <p:nvPr userDrawn="1"/>
          </p:nvSpPr>
          <p:spPr>
            <a:xfrm>
              <a:off x="235053" y="5570710"/>
              <a:ext cx="1070162" cy="1078276"/>
            </a:xfrm>
            <a:prstGeom prst="rect">
              <a:avLst/>
            </a:prstGeom>
            <a:solidFill>
              <a:srgbClr val="1514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grpSp>
          <p:nvGrpSpPr>
            <p:cNvPr id="14" name="Group 13">
              <a:extLst>
                <a:ext uri="{FF2B5EF4-FFF2-40B4-BE49-F238E27FC236}">
                  <a16:creationId xmlns:a16="http://schemas.microsoft.com/office/drawing/2014/main" id="{080EEA37-66AB-B646-7944-E05B6C455B94}"/>
                </a:ext>
              </a:extLst>
            </p:cNvPr>
            <p:cNvGrpSpPr/>
            <p:nvPr userDrawn="1"/>
          </p:nvGrpSpPr>
          <p:grpSpPr>
            <a:xfrm>
              <a:off x="236899" y="5784336"/>
              <a:ext cx="867102" cy="859405"/>
              <a:chOff x="-210" y="6000968"/>
              <a:chExt cx="867102" cy="859405"/>
            </a:xfrm>
            <a:solidFill>
              <a:schemeClr val="bg1"/>
            </a:solidFill>
          </p:grpSpPr>
          <p:sp>
            <p:nvSpPr>
              <p:cNvPr id="15" name="Freeform 14">
                <a:extLst>
                  <a:ext uri="{FF2B5EF4-FFF2-40B4-BE49-F238E27FC236}">
                    <a16:creationId xmlns:a16="http://schemas.microsoft.com/office/drawing/2014/main" id="{48BFB473-2A87-0BD3-A469-039E29F42F28}"/>
                  </a:ext>
                </a:extLst>
              </p:cNvPr>
              <p:cNvSpPr/>
              <p:nvPr userDrawn="1"/>
            </p:nvSpPr>
            <p:spPr>
              <a:xfrm>
                <a:off x="-3" y="6427626"/>
                <a:ext cx="45201" cy="85186"/>
              </a:xfrm>
              <a:custGeom>
                <a:avLst/>
                <a:gdLst>
                  <a:gd name="connsiteX0" fmla="*/ -51 w 37961"/>
                  <a:gd name="connsiteY0" fmla="*/ -30 h 71541"/>
                  <a:gd name="connsiteX1" fmla="*/ -51 w 37961"/>
                  <a:gd name="connsiteY1" fmla="*/ 71512 h 71541"/>
                  <a:gd name="connsiteX2" fmla="*/ 37910 w 37961"/>
                  <a:gd name="connsiteY2" fmla="*/ 44109 h 71541"/>
                </a:gdLst>
                <a:ahLst/>
                <a:cxnLst>
                  <a:cxn ang="0">
                    <a:pos x="connsiteX0" y="connsiteY0"/>
                  </a:cxn>
                  <a:cxn ang="0">
                    <a:pos x="connsiteX1" y="connsiteY1"/>
                  </a:cxn>
                  <a:cxn ang="0">
                    <a:pos x="connsiteX2" y="connsiteY2"/>
                  </a:cxn>
                </a:cxnLst>
                <a:rect l="l" t="t" r="r" b="b"/>
                <a:pathLst>
                  <a:path w="37961" h="71541">
                    <a:moveTo>
                      <a:pt x="-51" y="-30"/>
                    </a:moveTo>
                    <a:lnTo>
                      <a:pt x="-51" y="71512"/>
                    </a:lnTo>
                    <a:cubicBezTo>
                      <a:pt x="13073" y="63043"/>
                      <a:pt x="25744" y="53896"/>
                      <a:pt x="37910" y="44109"/>
                    </a:cubicBezTo>
                    <a:close/>
                  </a:path>
                </a:pathLst>
              </a:custGeom>
              <a:grpFill/>
              <a:ln w="10319" cap="flat">
                <a:noFill/>
                <a:prstDash val="solid"/>
                <a:miter/>
              </a:ln>
            </p:spPr>
            <p:txBody>
              <a:bodyPr rtlCol="0" anchor="ctr"/>
              <a:lstStyle/>
              <a:p>
                <a:endParaRPr lang="en-GB"/>
              </a:p>
            </p:txBody>
          </p:sp>
          <p:sp>
            <p:nvSpPr>
              <p:cNvPr id="22" name="Freeform 21">
                <a:extLst>
                  <a:ext uri="{FF2B5EF4-FFF2-40B4-BE49-F238E27FC236}">
                    <a16:creationId xmlns:a16="http://schemas.microsoft.com/office/drawing/2014/main" id="{1F46CCAD-498C-1565-4914-94375537DBA9}"/>
                  </a:ext>
                </a:extLst>
              </p:cNvPr>
              <p:cNvSpPr/>
              <p:nvPr userDrawn="1"/>
            </p:nvSpPr>
            <p:spPr>
              <a:xfrm>
                <a:off x="-3" y="6000968"/>
                <a:ext cx="866895" cy="859405"/>
              </a:xfrm>
              <a:custGeom>
                <a:avLst/>
                <a:gdLst>
                  <a:gd name="connsiteX0" fmla="*/ 184096 w 728037"/>
                  <a:gd name="connsiteY0" fmla="*/ -30 h 721747"/>
                  <a:gd name="connsiteX1" fmla="*/ 384 w 728037"/>
                  <a:gd name="connsiteY1" fmla="*/ 31969 h 721747"/>
                  <a:gd name="connsiteX2" fmla="*/ 384 w 728037"/>
                  <a:gd name="connsiteY2" fmla="*/ 31969 h 721747"/>
                  <a:gd name="connsiteX3" fmla="*/ 384 w 728037"/>
                  <a:gd name="connsiteY3" fmla="*/ 53908 h 721747"/>
                  <a:gd name="connsiteX4" fmla="*/ 18755 w 728037"/>
                  <a:gd name="connsiteY4" fmla="*/ 48532 h 721747"/>
                  <a:gd name="connsiteX5" fmla="*/ 32077 w 728037"/>
                  <a:gd name="connsiteY5" fmla="*/ 45930 h 721747"/>
                  <a:gd name="connsiteX6" fmla="*/ 36778 w 728037"/>
                  <a:gd name="connsiteY6" fmla="*/ 45237 h 721747"/>
                  <a:gd name="connsiteX7" fmla="*/ 174170 w 728037"/>
                  <a:gd name="connsiteY7" fmla="*/ 82872 h 721747"/>
                  <a:gd name="connsiteX8" fmla="*/ 174170 w 728037"/>
                  <a:gd name="connsiteY8" fmla="*/ 82872 h 721747"/>
                  <a:gd name="connsiteX9" fmla="*/ 52624 w 728037"/>
                  <a:gd name="connsiteY9" fmla="*/ 425752 h 721747"/>
                  <a:gd name="connsiteX10" fmla="*/ 994 w 728037"/>
                  <a:gd name="connsiteY10" fmla="*/ 465468 h 721747"/>
                  <a:gd name="connsiteX11" fmla="*/ -51 w 728037"/>
                  <a:gd name="connsiteY11" fmla="*/ 466162 h 721747"/>
                  <a:gd name="connsiteX12" fmla="*/ -51 w 728037"/>
                  <a:gd name="connsiteY12" fmla="*/ 502583 h 721747"/>
                  <a:gd name="connsiteX13" fmla="*/ 15447 w 728037"/>
                  <a:gd name="connsiteY13" fmla="*/ 491570 h 721747"/>
                  <a:gd name="connsiteX14" fmla="*/ 71344 w 728037"/>
                  <a:gd name="connsiteY14" fmla="*/ 581063 h 721747"/>
                  <a:gd name="connsiteX15" fmla="*/ 97464 w 728037"/>
                  <a:gd name="connsiteY15" fmla="*/ 563719 h 721747"/>
                  <a:gd name="connsiteX16" fmla="*/ 145003 w 728037"/>
                  <a:gd name="connsiteY16" fmla="*/ 528599 h 721747"/>
                  <a:gd name="connsiteX17" fmla="*/ 147092 w 728037"/>
                  <a:gd name="connsiteY17" fmla="*/ 526778 h 721747"/>
                  <a:gd name="connsiteX18" fmla="*/ 73956 w 728037"/>
                  <a:gd name="connsiteY18" fmla="*/ 443095 h 721747"/>
                  <a:gd name="connsiteX19" fmla="*/ 126196 w 728037"/>
                  <a:gd name="connsiteY19" fmla="*/ 388030 h 721747"/>
                  <a:gd name="connsiteX20" fmla="*/ 216049 w 728037"/>
                  <a:gd name="connsiteY20" fmla="*/ 460352 h 721747"/>
                  <a:gd name="connsiteX21" fmla="*/ 268289 w 728037"/>
                  <a:gd name="connsiteY21" fmla="*/ 395661 h 721747"/>
                  <a:gd name="connsiteX22" fmla="*/ 165028 w 728037"/>
                  <a:gd name="connsiteY22" fmla="*/ 334092 h 721747"/>
                  <a:gd name="connsiteX23" fmla="*/ 194718 w 728037"/>
                  <a:gd name="connsiteY23" fmla="*/ 279373 h 721747"/>
                  <a:gd name="connsiteX24" fmla="*/ 309211 w 728037"/>
                  <a:gd name="connsiteY24" fmla="*/ 327328 h 721747"/>
                  <a:gd name="connsiteX25" fmla="*/ 331239 w 728037"/>
                  <a:gd name="connsiteY25" fmla="*/ 274430 h 721747"/>
                  <a:gd name="connsiteX26" fmla="*/ 333764 w 728037"/>
                  <a:gd name="connsiteY26" fmla="*/ 266713 h 721747"/>
                  <a:gd name="connsiteX27" fmla="*/ 212044 w 728037"/>
                  <a:gd name="connsiteY27" fmla="*/ 231245 h 721747"/>
                  <a:gd name="connsiteX28" fmla="*/ 220751 w 728037"/>
                  <a:gd name="connsiteY28" fmla="*/ 185198 h 721747"/>
                  <a:gd name="connsiteX29" fmla="*/ 346127 w 728037"/>
                  <a:gd name="connsiteY29" fmla="*/ 207571 h 721747"/>
                  <a:gd name="connsiteX30" fmla="*/ 345431 w 728037"/>
                  <a:gd name="connsiteY30" fmla="*/ 159010 h 721747"/>
                  <a:gd name="connsiteX31" fmla="*/ 220054 w 728037"/>
                  <a:gd name="connsiteY31" fmla="*/ 147043 h 721747"/>
                  <a:gd name="connsiteX32" fmla="*/ 211348 w 728037"/>
                  <a:gd name="connsiteY32" fmla="*/ 113657 h 721747"/>
                  <a:gd name="connsiteX33" fmla="*/ 331848 w 728037"/>
                  <a:gd name="connsiteY33" fmla="*/ 115651 h 721747"/>
                  <a:gd name="connsiteX34" fmla="*/ 320878 w 728037"/>
                  <a:gd name="connsiteY34" fmla="*/ 96226 h 721747"/>
                  <a:gd name="connsiteX35" fmla="*/ 310604 w 728037"/>
                  <a:gd name="connsiteY35" fmla="*/ 83045 h 721747"/>
                  <a:gd name="connsiteX36" fmla="*/ 198201 w 728037"/>
                  <a:gd name="connsiteY36" fmla="*/ 88162 h 721747"/>
                  <a:gd name="connsiteX37" fmla="*/ 179568 w 728037"/>
                  <a:gd name="connsiteY37" fmla="*/ 67350 h 721747"/>
                  <a:gd name="connsiteX38" fmla="*/ 281437 w 728037"/>
                  <a:gd name="connsiteY38" fmla="*/ 56770 h 721747"/>
                  <a:gd name="connsiteX39" fmla="*/ 250528 w 728037"/>
                  <a:gd name="connsiteY39" fmla="*/ 39427 h 721747"/>
                  <a:gd name="connsiteX40" fmla="*/ 159369 w 728037"/>
                  <a:gd name="connsiteY40" fmla="*/ 52868 h 721747"/>
                  <a:gd name="connsiteX41" fmla="*/ 136557 w 728037"/>
                  <a:gd name="connsiteY41" fmla="*/ 42462 h 721747"/>
                  <a:gd name="connsiteX42" fmla="*/ 196982 w 728037"/>
                  <a:gd name="connsiteY42" fmla="*/ 28934 h 721747"/>
                  <a:gd name="connsiteX43" fmla="*/ 196982 w 728037"/>
                  <a:gd name="connsiteY43" fmla="*/ 28934 h 721747"/>
                  <a:gd name="connsiteX44" fmla="*/ 113833 w 728037"/>
                  <a:gd name="connsiteY44" fmla="*/ 36131 h 721747"/>
                  <a:gd name="connsiteX45" fmla="*/ 89802 w 728037"/>
                  <a:gd name="connsiteY45" fmla="*/ 32749 h 721747"/>
                  <a:gd name="connsiteX46" fmla="*/ 146309 w 728037"/>
                  <a:gd name="connsiteY46" fmla="*/ 21216 h 721747"/>
                  <a:gd name="connsiteX47" fmla="*/ 336550 w 728037"/>
                  <a:gd name="connsiteY47" fmla="*/ 89202 h 721747"/>
                  <a:gd name="connsiteX48" fmla="*/ 336550 w 728037"/>
                  <a:gd name="connsiteY48" fmla="*/ 89202 h 721747"/>
                  <a:gd name="connsiteX49" fmla="*/ 293713 w 728037"/>
                  <a:gd name="connsiteY49" fmla="*/ 410923 h 721747"/>
                  <a:gd name="connsiteX50" fmla="*/ 217616 w 728037"/>
                  <a:gd name="connsiteY50" fmla="*/ 504144 h 721747"/>
                  <a:gd name="connsiteX51" fmla="*/ 144045 w 728037"/>
                  <a:gd name="connsiteY51" fmla="*/ 570656 h 721747"/>
                  <a:gd name="connsiteX52" fmla="*/ 25634 w 728037"/>
                  <a:gd name="connsiteY52" fmla="*/ 646187 h 721747"/>
                  <a:gd name="connsiteX53" fmla="*/ 123 w 728037"/>
                  <a:gd name="connsiteY53" fmla="*/ 658935 h 721747"/>
                  <a:gd name="connsiteX54" fmla="*/ 123 w 728037"/>
                  <a:gd name="connsiteY54" fmla="*/ 697524 h 721747"/>
                  <a:gd name="connsiteX55" fmla="*/ 109827 w 728037"/>
                  <a:gd name="connsiteY55" fmla="*/ 634133 h 721747"/>
                  <a:gd name="connsiteX56" fmla="*/ 167814 w 728037"/>
                  <a:gd name="connsiteY56" fmla="*/ 716168 h 721747"/>
                  <a:gd name="connsiteX57" fmla="*/ 257667 w 728037"/>
                  <a:gd name="connsiteY57" fmla="*/ 651217 h 721747"/>
                  <a:gd name="connsiteX58" fmla="*/ 188014 w 728037"/>
                  <a:gd name="connsiteY58" fmla="*/ 573171 h 721747"/>
                  <a:gd name="connsiteX59" fmla="*/ 260540 w 728037"/>
                  <a:gd name="connsiteY59" fmla="*/ 500069 h 721747"/>
                  <a:gd name="connsiteX60" fmla="*/ 340555 w 728037"/>
                  <a:gd name="connsiteY60" fmla="*/ 571350 h 721747"/>
                  <a:gd name="connsiteX61" fmla="*/ 403069 w 728037"/>
                  <a:gd name="connsiteY61" fmla="*/ 490443 h 721747"/>
                  <a:gd name="connsiteX62" fmla="*/ 316002 w 728037"/>
                  <a:gd name="connsiteY62" fmla="*/ 426793 h 721747"/>
                  <a:gd name="connsiteX63" fmla="*/ 357359 w 728037"/>
                  <a:gd name="connsiteY63" fmla="*/ 351435 h 721747"/>
                  <a:gd name="connsiteX64" fmla="*/ 449911 w 728037"/>
                  <a:gd name="connsiteY64" fmla="*/ 406414 h 721747"/>
                  <a:gd name="connsiteX65" fmla="*/ 476467 w 728037"/>
                  <a:gd name="connsiteY65" fmla="*/ 330363 h 721747"/>
                  <a:gd name="connsiteX66" fmla="*/ 381302 w 728037"/>
                  <a:gd name="connsiteY66" fmla="*/ 283449 h 721747"/>
                  <a:gd name="connsiteX67" fmla="*/ 391228 w 728037"/>
                  <a:gd name="connsiteY67" fmla="*/ 219192 h 721747"/>
                  <a:gd name="connsiteX68" fmla="*/ 487002 w 728037"/>
                  <a:gd name="connsiteY68" fmla="*/ 258301 h 721747"/>
                  <a:gd name="connsiteX69" fmla="*/ 482910 w 728037"/>
                  <a:gd name="connsiteY69" fmla="*/ 198986 h 721747"/>
                  <a:gd name="connsiteX70" fmla="*/ 388007 w 728037"/>
                  <a:gd name="connsiteY70" fmla="*/ 166294 h 721747"/>
                  <a:gd name="connsiteX71" fmla="*/ 373902 w 728037"/>
                  <a:gd name="connsiteY71" fmla="*/ 119814 h 721747"/>
                  <a:gd name="connsiteX72" fmla="*/ 466715 w 728037"/>
                  <a:gd name="connsiteY72" fmla="*/ 146609 h 721747"/>
                  <a:gd name="connsiteX73" fmla="*/ 442772 w 728037"/>
                  <a:gd name="connsiteY73" fmla="*/ 108800 h 721747"/>
                  <a:gd name="connsiteX74" fmla="*/ 351351 w 728037"/>
                  <a:gd name="connsiteY74" fmla="*/ 82005 h 721747"/>
                  <a:gd name="connsiteX75" fmla="*/ 328366 w 728037"/>
                  <a:gd name="connsiteY75" fmla="*/ 57811 h 721747"/>
                  <a:gd name="connsiteX76" fmla="*/ 379474 w 728037"/>
                  <a:gd name="connsiteY76" fmla="*/ 67610 h 721747"/>
                  <a:gd name="connsiteX77" fmla="*/ 306164 w 728037"/>
                  <a:gd name="connsiteY77" fmla="*/ 41161 h 721747"/>
                  <a:gd name="connsiteX78" fmla="*/ 289360 w 728037"/>
                  <a:gd name="connsiteY78" fmla="*/ 31275 h 721747"/>
                  <a:gd name="connsiteX79" fmla="*/ 437374 w 728037"/>
                  <a:gd name="connsiteY79" fmla="*/ 89896 h 721747"/>
                  <a:gd name="connsiteX80" fmla="*/ 451217 w 728037"/>
                  <a:gd name="connsiteY80" fmla="*/ 101776 h 721747"/>
                  <a:gd name="connsiteX81" fmla="*/ 465061 w 728037"/>
                  <a:gd name="connsiteY81" fmla="*/ 117906 h 721747"/>
                  <a:gd name="connsiteX82" fmla="*/ 465061 w 728037"/>
                  <a:gd name="connsiteY82" fmla="*/ 117906 h 721747"/>
                  <a:gd name="connsiteX83" fmla="*/ 226497 w 728037"/>
                  <a:gd name="connsiteY83" fmla="*/ 721631 h 721747"/>
                  <a:gd name="connsiteX84" fmla="*/ 319833 w 728037"/>
                  <a:gd name="connsiteY84" fmla="*/ 721631 h 721747"/>
                  <a:gd name="connsiteX85" fmla="*/ 300765 w 728037"/>
                  <a:gd name="connsiteY85" fmla="*/ 700559 h 721747"/>
                  <a:gd name="connsiteX86" fmla="*/ 383566 w 728037"/>
                  <a:gd name="connsiteY86" fmla="*/ 612628 h 721747"/>
                  <a:gd name="connsiteX87" fmla="*/ 446080 w 728037"/>
                  <a:gd name="connsiteY87" fmla="*/ 674630 h 721747"/>
                  <a:gd name="connsiteX88" fmla="*/ 513383 w 728037"/>
                  <a:gd name="connsiteY88" fmla="*/ 586005 h 721747"/>
                  <a:gd name="connsiteX89" fmla="*/ 445558 w 728037"/>
                  <a:gd name="connsiteY89" fmla="*/ 524349 h 721747"/>
                  <a:gd name="connsiteX90" fmla="*/ 490920 w 728037"/>
                  <a:gd name="connsiteY90" fmla="*/ 434424 h 721747"/>
                  <a:gd name="connsiteX91" fmla="*/ 562576 w 728037"/>
                  <a:gd name="connsiteY91" fmla="*/ 493912 h 721747"/>
                  <a:gd name="connsiteX92" fmla="*/ 589915 w 728037"/>
                  <a:gd name="connsiteY92" fmla="*/ 410316 h 721747"/>
                  <a:gd name="connsiteX93" fmla="*/ 516169 w 728037"/>
                  <a:gd name="connsiteY93" fmla="*/ 353777 h 721747"/>
                  <a:gd name="connsiteX94" fmla="*/ 526008 w 728037"/>
                  <a:gd name="connsiteY94" fmla="*/ 277812 h 721747"/>
                  <a:gd name="connsiteX95" fmla="*/ 599492 w 728037"/>
                  <a:gd name="connsiteY95" fmla="*/ 330363 h 721747"/>
                  <a:gd name="connsiteX96" fmla="*/ 593224 w 728037"/>
                  <a:gd name="connsiteY96" fmla="*/ 264458 h 721747"/>
                  <a:gd name="connsiteX97" fmla="*/ 521654 w 728037"/>
                  <a:gd name="connsiteY97" fmla="*/ 215636 h 721747"/>
                  <a:gd name="connsiteX98" fmla="*/ 505982 w 728037"/>
                  <a:gd name="connsiteY98" fmla="*/ 161525 h 721747"/>
                  <a:gd name="connsiteX99" fmla="*/ 505982 w 728037"/>
                  <a:gd name="connsiteY99" fmla="*/ 161525 h 721747"/>
                  <a:gd name="connsiteX100" fmla="*/ 558223 w 728037"/>
                  <a:gd name="connsiteY100" fmla="*/ 194304 h 721747"/>
                  <a:gd name="connsiteX101" fmla="*/ 490833 w 728037"/>
                  <a:gd name="connsiteY101" fmla="*/ 130827 h 721747"/>
                  <a:gd name="connsiteX102" fmla="*/ 476902 w 728037"/>
                  <a:gd name="connsiteY102" fmla="*/ 110535 h 721747"/>
                  <a:gd name="connsiteX103" fmla="*/ 572066 w 728037"/>
                  <a:gd name="connsiteY103" fmla="*/ 193697 h 721747"/>
                  <a:gd name="connsiteX104" fmla="*/ 599492 w 728037"/>
                  <a:gd name="connsiteY104" fmla="*/ 242952 h 721747"/>
                  <a:gd name="connsiteX105" fmla="*/ 604804 w 728037"/>
                  <a:gd name="connsiteY105" fmla="*/ 258474 h 721747"/>
                  <a:gd name="connsiteX106" fmla="*/ 587390 w 728037"/>
                  <a:gd name="connsiteY106" fmla="*/ 495906 h 721747"/>
                  <a:gd name="connsiteX107" fmla="*/ 448083 w 728037"/>
                  <a:gd name="connsiteY107" fmla="*/ 721371 h 721747"/>
                  <a:gd name="connsiteX108" fmla="*/ 559093 w 728037"/>
                  <a:gd name="connsiteY108" fmla="*/ 721371 h 721747"/>
                  <a:gd name="connsiteX109" fmla="*/ 589480 w 728037"/>
                  <a:gd name="connsiteY109" fmla="*/ 674977 h 721747"/>
                  <a:gd name="connsiteX110" fmla="*/ 548210 w 728037"/>
                  <a:gd name="connsiteY110" fmla="*/ 624334 h 721747"/>
                  <a:gd name="connsiteX111" fmla="*/ 596880 w 728037"/>
                  <a:gd name="connsiteY111" fmla="*/ 528945 h 721747"/>
                  <a:gd name="connsiteX112" fmla="*/ 637279 w 728037"/>
                  <a:gd name="connsiteY112" fmla="*/ 579588 h 721747"/>
                  <a:gd name="connsiteX113" fmla="*/ 662790 w 728037"/>
                  <a:gd name="connsiteY113" fmla="*/ 494779 h 721747"/>
                  <a:gd name="connsiteX114" fmla="*/ 624132 w 728037"/>
                  <a:gd name="connsiteY114" fmla="*/ 444136 h 721747"/>
                  <a:gd name="connsiteX115" fmla="*/ 634319 w 728037"/>
                  <a:gd name="connsiteY115" fmla="*/ 363489 h 721747"/>
                  <a:gd name="connsiteX116" fmla="*/ 665663 w 728037"/>
                  <a:gd name="connsiteY116" fmla="*/ 404506 h 721747"/>
                  <a:gd name="connsiteX117" fmla="*/ 665663 w 728037"/>
                  <a:gd name="connsiteY117" fmla="*/ 404506 h 721747"/>
                  <a:gd name="connsiteX118" fmla="*/ 630837 w 728037"/>
                  <a:gd name="connsiteY118" fmla="*/ 301053 h 721747"/>
                  <a:gd name="connsiteX119" fmla="*/ 630314 w 728037"/>
                  <a:gd name="connsiteY119" fmla="*/ 298017 h 721747"/>
                  <a:gd name="connsiteX120" fmla="*/ 618212 w 728037"/>
                  <a:gd name="connsiteY120" fmla="*/ 252318 h 721747"/>
                  <a:gd name="connsiteX121" fmla="*/ 665402 w 728037"/>
                  <a:gd name="connsiteY121" fmla="*/ 341896 h 721747"/>
                  <a:gd name="connsiteX122" fmla="*/ 684296 w 728037"/>
                  <a:gd name="connsiteY122" fmla="*/ 452894 h 721747"/>
                  <a:gd name="connsiteX123" fmla="*/ 591134 w 728037"/>
                  <a:gd name="connsiteY123" fmla="*/ 721718 h 721747"/>
                  <a:gd name="connsiteX124" fmla="*/ 619083 w 728037"/>
                  <a:gd name="connsiteY124" fmla="*/ 721718 h 721747"/>
                  <a:gd name="connsiteX125" fmla="*/ 666012 w 728037"/>
                  <a:gd name="connsiteY125" fmla="*/ 620432 h 721747"/>
                  <a:gd name="connsiteX126" fmla="*/ 677069 w 728037"/>
                  <a:gd name="connsiteY126" fmla="*/ 654252 h 721747"/>
                  <a:gd name="connsiteX127" fmla="*/ 697007 w 728037"/>
                  <a:gd name="connsiteY127" fmla="*/ 550972 h 721747"/>
                  <a:gd name="connsiteX128" fmla="*/ 691871 w 728037"/>
                  <a:gd name="connsiteY128" fmla="*/ 534322 h 721747"/>
                  <a:gd name="connsiteX129" fmla="*/ 700577 w 728037"/>
                  <a:gd name="connsiteY129" fmla="*/ 469718 h 721747"/>
                  <a:gd name="connsiteX130" fmla="*/ 705540 w 728037"/>
                  <a:gd name="connsiteY130" fmla="*/ 541606 h 721747"/>
                  <a:gd name="connsiteX131" fmla="*/ 690913 w 728037"/>
                  <a:gd name="connsiteY131" fmla="*/ 664745 h 721747"/>
                  <a:gd name="connsiteX132" fmla="*/ 673499 w 728037"/>
                  <a:gd name="connsiteY132" fmla="*/ 721718 h 721747"/>
                  <a:gd name="connsiteX133" fmla="*/ 697530 w 728037"/>
                  <a:gd name="connsiteY133" fmla="*/ 721718 h 721747"/>
                  <a:gd name="connsiteX134" fmla="*/ 361722 w 728037"/>
                  <a:gd name="connsiteY134" fmla="*/ 30152 h 721747"/>
                  <a:gd name="connsiteX135" fmla="*/ 184096 w 728037"/>
                  <a:gd name="connsiteY135" fmla="*/ -30 h 721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728037" h="721747">
                    <a:moveTo>
                      <a:pt x="184096" y="-30"/>
                    </a:moveTo>
                    <a:cubicBezTo>
                      <a:pt x="121456" y="-90"/>
                      <a:pt x="59286" y="10739"/>
                      <a:pt x="384" y="31969"/>
                    </a:cubicBezTo>
                    <a:lnTo>
                      <a:pt x="384" y="31969"/>
                    </a:lnTo>
                    <a:lnTo>
                      <a:pt x="384" y="53908"/>
                    </a:lnTo>
                    <a:cubicBezTo>
                      <a:pt x="6391" y="51742"/>
                      <a:pt x="12527" y="49947"/>
                      <a:pt x="18755" y="48532"/>
                    </a:cubicBezTo>
                    <a:cubicBezTo>
                      <a:pt x="23225" y="47549"/>
                      <a:pt x="27665" y="46682"/>
                      <a:pt x="32077" y="45930"/>
                    </a:cubicBezTo>
                    <a:lnTo>
                      <a:pt x="36778" y="45237"/>
                    </a:lnTo>
                    <a:cubicBezTo>
                      <a:pt x="94591" y="36565"/>
                      <a:pt x="144306" y="48705"/>
                      <a:pt x="174170" y="82872"/>
                    </a:cubicBezTo>
                    <a:lnTo>
                      <a:pt x="174170" y="82872"/>
                    </a:lnTo>
                    <a:cubicBezTo>
                      <a:pt x="238948" y="157796"/>
                      <a:pt x="184792" y="311199"/>
                      <a:pt x="52624" y="425752"/>
                    </a:cubicBezTo>
                    <a:cubicBezTo>
                      <a:pt x="36234" y="440015"/>
                      <a:pt x="18992" y="453279"/>
                      <a:pt x="994" y="465468"/>
                    </a:cubicBezTo>
                    <a:cubicBezTo>
                      <a:pt x="681" y="465749"/>
                      <a:pt x="329" y="465983"/>
                      <a:pt x="-51" y="466162"/>
                    </a:cubicBezTo>
                    <a:lnTo>
                      <a:pt x="-51" y="502583"/>
                    </a:lnTo>
                    <a:cubicBezTo>
                      <a:pt x="5173" y="499028"/>
                      <a:pt x="10397" y="495386"/>
                      <a:pt x="15447" y="491570"/>
                    </a:cubicBezTo>
                    <a:cubicBezTo>
                      <a:pt x="22673" y="503711"/>
                      <a:pt x="70473" y="579762"/>
                      <a:pt x="71344" y="581063"/>
                    </a:cubicBezTo>
                    <a:cubicBezTo>
                      <a:pt x="74914" y="578808"/>
                      <a:pt x="85187" y="572391"/>
                      <a:pt x="97464" y="563719"/>
                    </a:cubicBezTo>
                    <a:cubicBezTo>
                      <a:pt x="111917" y="553920"/>
                      <a:pt x="129330" y="541693"/>
                      <a:pt x="145003" y="528599"/>
                    </a:cubicBezTo>
                    <a:lnTo>
                      <a:pt x="147092" y="526778"/>
                    </a:lnTo>
                    <a:lnTo>
                      <a:pt x="73956" y="443095"/>
                    </a:lnTo>
                    <a:cubicBezTo>
                      <a:pt x="81357" y="435811"/>
                      <a:pt x="106084" y="411357"/>
                      <a:pt x="126196" y="388030"/>
                    </a:cubicBezTo>
                    <a:cubicBezTo>
                      <a:pt x="130811" y="391585"/>
                      <a:pt x="191670" y="438586"/>
                      <a:pt x="216049" y="460352"/>
                    </a:cubicBezTo>
                    <a:cubicBezTo>
                      <a:pt x="234860" y="439946"/>
                      <a:pt x="252311" y="418336"/>
                      <a:pt x="268289" y="395661"/>
                    </a:cubicBezTo>
                    <a:cubicBezTo>
                      <a:pt x="234769" y="373722"/>
                      <a:pt x="165028" y="334092"/>
                      <a:pt x="165028" y="334092"/>
                    </a:cubicBezTo>
                    <a:cubicBezTo>
                      <a:pt x="176224" y="316582"/>
                      <a:pt x="186146" y="298296"/>
                      <a:pt x="194718" y="279373"/>
                    </a:cubicBezTo>
                    <a:cubicBezTo>
                      <a:pt x="194718" y="279373"/>
                      <a:pt x="276038" y="311025"/>
                      <a:pt x="309211" y="327328"/>
                    </a:cubicBezTo>
                    <a:cubicBezTo>
                      <a:pt x="317770" y="310223"/>
                      <a:pt x="325131" y="292548"/>
                      <a:pt x="331239" y="274430"/>
                    </a:cubicBezTo>
                    <a:cubicBezTo>
                      <a:pt x="332110" y="271829"/>
                      <a:pt x="332980" y="269314"/>
                      <a:pt x="333764" y="266713"/>
                    </a:cubicBezTo>
                    <a:cubicBezTo>
                      <a:pt x="293936" y="252487"/>
                      <a:pt x="253290" y="240644"/>
                      <a:pt x="212044" y="231245"/>
                    </a:cubicBezTo>
                    <a:cubicBezTo>
                      <a:pt x="216379" y="216200"/>
                      <a:pt x="219293" y="200784"/>
                      <a:pt x="220751" y="185198"/>
                    </a:cubicBezTo>
                    <a:cubicBezTo>
                      <a:pt x="263025" y="189667"/>
                      <a:pt x="304925" y="197145"/>
                      <a:pt x="346127" y="207571"/>
                    </a:cubicBezTo>
                    <a:cubicBezTo>
                      <a:pt x="347783" y="191412"/>
                      <a:pt x="347550" y="175116"/>
                      <a:pt x="345431" y="159010"/>
                    </a:cubicBezTo>
                    <a:cubicBezTo>
                      <a:pt x="304059" y="151457"/>
                      <a:pt x="262113" y="147453"/>
                      <a:pt x="220054" y="147043"/>
                    </a:cubicBezTo>
                    <a:cubicBezTo>
                      <a:pt x="218518" y="135604"/>
                      <a:pt x="215595" y="124394"/>
                      <a:pt x="211348" y="113657"/>
                    </a:cubicBezTo>
                    <a:cubicBezTo>
                      <a:pt x="251492" y="110699"/>
                      <a:pt x="291825" y="111366"/>
                      <a:pt x="331848" y="115651"/>
                    </a:cubicBezTo>
                    <a:cubicBezTo>
                      <a:pt x="328598" y="108957"/>
                      <a:pt x="324934" y="102469"/>
                      <a:pt x="320878" y="96226"/>
                    </a:cubicBezTo>
                    <a:cubicBezTo>
                      <a:pt x="317656" y="91630"/>
                      <a:pt x="310604" y="83045"/>
                      <a:pt x="310604" y="83045"/>
                    </a:cubicBezTo>
                    <a:cubicBezTo>
                      <a:pt x="273059" y="81006"/>
                      <a:pt x="235402" y="82720"/>
                      <a:pt x="198201" y="88162"/>
                    </a:cubicBezTo>
                    <a:cubicBezTo>
                      <a:pt x="192834" y="80519"/>
                      <a:pt x="186580" y="73533"/>
                      <a:pt x="179568" y="67350"/>
                    </a:cubicBezTo>
                    <a:cubicBezTo>
                      <a:pt x="213065" y="60316"/>
                      <a:pt x="247204" y="56771"/>
                      <a:pt x="281437" y="56770"/>
                    </a:cubicBezTo>
                    <a:cubicBezTo>
                      <a:pt x="271633" y="50148"/>
                      <a:pt x="261294" y="44347"/>
                      <a:pt x="250528" y="39427"/>
                    </a:cubicBezTo>
                    <a:cubicBezTo>
                      <a:pt x="219746" y="40650"/>
                      <a:pt x="189186" y="45157"/>
                      <a:pt x="159369" y="52868"/>
                    </a:cubicBezTo>
                    <a:cubicBezTo>
                      <a:pt x="152159" y="48601"/>
                      <a:pt x="144511" y="45112"/>
                      <a:pt x="136557" y="42462"/>
                    </a:cubicBezTo>
                    <a:cubicBezTo>
                      <a:pt x="156315" y="36398"/>
                      <a:pt x="176518" y="31875"/>
                      <a:pt x="196982" y="28934"/>
                    </a:cubicBezTo>
                    <a:lnTo>
                      <a:pt x="196982" y="28934"/>
                    </a:lnTo>
                    <a:cubicBezTo>
                      <a:pt x="164157" y="24685"/>
                      <a:pt x="118621" y="34917"/>
                      <a:pt x="113833" y="36131"/>
                    </a:cubicBezTo>
                    <a:cubicBezTo>
                      <a:pt x="106780" y="34657"/>
                      <a:pt x="97029" y="33443"/>
                      <a:pt x="89802" y="32749"/>
                    </a:cubicBezTo>
                    <a:cubicBezTo>
                      <a:pt x="108373" y="27715"/>
                      <a:pt x="127246" y="23863"/>
                      <a:pt x="146309" y="21216"/>
                    </a:cubicBezTo>
                    <a:cubicBezTo>
                      <a:pt x="175650" y="17140"/>
                      <a:pt x="273775" y="5087"/>
                      <a:pt x="336550" y="89202"/>
                    </a:cubicBezTo>
                    <a:lnTo>
                      <a:pt x="336550" y="89202"/>
                    </a:lnTo>
                    <a:cubicBezTo>
                      <a:pt x="395930" y="168809"/>
                      <a:pt x="374337" y="292381"/>
                      <a:pt x="293713" y="410923"/>
                    </a:cubicBezTo>
                    <a:cubicBezTo>
                      <a:pt x="271290" y="444269"/>
                      <a:pt x="245816" y="475476"/>
                      <a:pt x="217616" y="504144"/>
                    </a:cubicBezTo>
                    <a:cubicBezTo>
                      <a:pt x="194571" y="527885"/>
                      <a:pt x="169994" y="550103"/>
                      <a:pt x="144045" y="570656"/>
                    </a:cubicBezTo>
                    <a:cubicBezTo>
                      <a:pt x="107428" y="600017"/>
                      <a:pt x="67726" y="625340"/>
                      <a:pt x="25634" y="646187"/>
                    </a:cubicBezTo>
                    <a:cubicBezTo>
                      <a:pt x="16927" y="650610"/>
                      <a:pt x="8220" y="654859"/>
                      <a:pt x="123" y="658935"/>
                    </a:cubicBezTo>
                    <a:lnTo>
                      <a:pt x="123" y="697524"/>
                    </a:lnTo>
                    <a:cubicBezTo>
                      <a:pt x="38618" y="679885"/>
                      <a:pt x="75350" y="658666"/>
                      <a:pt x="109827" y="634133"/>
                    </a:cubicBezTo>
                    <a:lnTo>
                      <a:pt x="167814" y="716168"/>
                    </a:lnTo>
                    <a:cubicBezTo>
                      <a:pt x="198992" y="696249"/>
                      <a:pt x="228993" y="674570"/>
                      <a:pt x="257667" y="651217"/>
                    </a:cubicBezTo>
                    <a:lnTo>
                      <a:pt x="188014" y="573171"/>
                    </a:lnTo>
                    <a:cubicBezTo>
                      <a:pt x="213788" y="550431"/>
                      <a:pt x="238017" y="526009"/>
                      <a:pt x="260540" y="500069"/>
                    </a:cubicBezTo>
                    <a:cubicBezTo>
                      <a:pt x="260540" y="500069"/>
                      <a:pt x="332632" y="563806"/>
                      <a:pt x="340555" y="571350"/>
                    </a:cubicBezTo>
                    <a:cubicBezTo>
                      <a:pt x="363269" y="545872"/>
                      <a:pt x="384158" y="518836"/>
                      <a:pt x="403069" y="490443"/>
                    </a:cubicBezTo>
                    <a:cubicBezTo>
                      <a:pt x="365456" y="460786"/>
                      <a:pt x="316525" y="427313"/>
                      <a:pt x="316002" y="426793"/>
                    </a:cubicBezTo>
                    <a:cubicBezTo>
                      <a:pt x="331342" y="402551"/>
                      <a:pt x="345154" y="377384"/>
                      <a:pt x="357359" y="351435"/>
                    </a:cubicBezTo>
                    <a:cubicBezTo>
                      <a:pt x="357359" y="351435"/>
                      <a:pt x="404985" y="377450"/>
                      <a:pt x="449911" y="406414"/>
                    </a:cubicBezTo>
                    <a:cubicBezTo>
                      <a:pt x="460960" y="381880"/>
                      <a:pt x="469850" y="356434"/>
                      <a:pt x="476467" y="330363"/>
                    </a:cubicBezTo>
                    <a:cubicBezTo>
                      <a:pt x="446951" y="313020"/>
                      <a:pt x="381302" y="283449"/>
                      <a:pt x="381302" y="283449"/>
                    </a:cubicBezTo>
                    <a:cubicBezTo>
                      <a:pt x="386766" y="262416"/>
                      <a:pt x="390091" y="240888"/>
                      <a:pt x="391228" y="219192"/>
                    </a:cubicBezTo>
                    <a:cubicBezTo>
                      <a:pt x="424022" y="230009"/>
                      <a:pt x="456023" y="243076"/>
                      <a:pt x="487002" y="258301"/>
                    </a:cubicBezTo>
                    <a:cubicBezTo>
                      <a:pt x="487751" y="238441"/>
                      <a:pt x="486384" y="218558"/>
                      <a:pt x="482910" y="198986"/>
                    </a:cubicBezTo>
                    <a:cubicBezTo>
                      <a:pt x="452297" y="185342"/>
                      <a:pt x="420541" y="174403"/>
                      <a:pt x="388007" y="166294"/>
                    </a:cubicBezTo>
                    <a:cubicBezTo>
                      <a:pt x="385223" y="150286"/>
                      <a:pt x="380487" y="134677"/>
                      <a:pt x="373902" y="119814"/>
                    </a:cubicBezTo>
                    <a:cubicBezTo>
                      <a:pt x="405559" y="126055"/>
                      <a:pt x="436616" y="135020"/>
                      <a:pt x="466715" y="146609"/>
                    </a:cubicBezTo>
                    <a:cubicBezTo>
                      <a:pt x="460751" y="132846"/>
                      <a:pt x="452671" y="120092"/>
                      <a:pt x="442772" y="108800"/>
                    </a:cubicBezTo>
                    <a:cubicBezTo>
                      <a:pt x="414910" y="93538"/>
                      <a:pt x="351351" y="82005"/>
                      <a:pt x="351351" y="82005"/>
                    </a:cubicBezTo>
                    <a:cubicBezTo>
                      <a:pt x="344443" y="73262"/>
                      <a:pt x="336749" y="65164"/>
                      <a:pt x="328366" y="57811"/>
                    </a:cubicBezTo>
                    <a:cubicBezTo>
                      <a:pt x="348304" y="60586"/>
                      <a:pt x="379474" y="67610"/>
                      <a:pt x="379474" y="67610"/>
                    </a:cubicBezTo>
                    <a:cubicBezTo>
                      <a:pt x="355915" y="56546"/>
                      <a:pt x="331371" y="47693"/>
                      <a:pt x="306164" y="41161"/>
                    </a:cubicBezTo>
                    <a:cubicBezTo>
                      <a:pt x="306164" y="41161"/>
                      <a:pt x="298502" y="36131"/>
                      <a:pt x="289360" y="31275"/>
                    </a:cubicBezTo>
                    <a:cubicBezTo>
                      <a:pt x="289360" y="31275"/>
                      <a:pt x="385133" y="50873"/>
                      <a:pt x="437374" y="89896"/>
                    </a:cubicBezTo>
                    <a:cubicBezTo>
                      <a:pt x="442215" y="93586"/>
                      <a:pt x="446838" y="97552"/>
                      <a:pt x="451217" y="101776"/>
                    </a:cubicBezTo>
                    <a:cubicBezTo>
                      <a:pt x="456302" y="106732"/>
                      <a:pt x="460934" y="112130"/>
                      <a:pt x="465061" y="117906"/>
                    </a:cubicBezTo>
                    <a:lnTo>
                      <a:pt x="465061" y="117906"/>
                    </a:lnTo>
                    <a:cubicBezTo>
                      <a:pt x="568671" y="259168"/>
                      <a:pt x="479079" y="531287"/>
                      <a:pt x="226497" y="721631"/>
                    </a:cubicBezTo>
                    <a:lnTo>
                      <a:pt x="319833" y="721631"/>
                    </a:lnTo>
                    <a:lnTo>
                      <a:pt x="300765" y="700559"/>
                    </a:lnTo>
                    <a:cubicBezTo>
                      <a:pt x="330461" y="673278"/>
                      <a:pt x="358133" y="643889"/>
                      <a:pt x="383566" y="612628"/>
                    </a:cubicBezTo>
                    <a:lnTo>
                      <a:pt x="446080" y="674630"/>
                    </a:lnTo>
                    <a:cubicBezTo>
                      <a:pt x="470755" y="646846"/>
                      <a:pt x="493262" y="617215"/>
                      <a:pt x="513383" y="586005"/>
                    </a:cubicBezTo>
                    <a:cubicBezTo>
                      <a:pt x="513383" y="586005"/>
                      <a:pt x="480472" y="554614"/>
                      <a:pt x="445558" y="524349"/>
                    </a:cubicBezTo>
                    <a:cubicBezTo>
                      <a:pt x="463154" y="495676"/>
                      <a:pt x="478321" y="465598"/>
                      <a:pt x="490920" y="434424"/>
                    </a:cubicBezTo>
                    <a:cubicBezTo>
                      <a:pt x="515830" y="452992"/>
                      <a:pt x="539756" y="472848"/>
                      <a:pt x="562576" y="493912"/>
                    </a:cubicBezTo>
                    <a:cubicBezTo>
                      <a:pt x="574147" y="466905"/>
                      <a:pt x="583298" y="438931"/>
                      <a:pt x="589915" y="410316"/>
                    </a:cubicBezTo>
                    <a:cubicBezTo>
                      <a:pt x="566825" y="389619"/>
                      <a:pt x="542167" y="370717"/>
                      <a:pt x="516169" y="353777"/>
                    </a:cubicBezTo>
                    <a:cubicBezTo>
                      <a:pt x="521863" y="328824"/>
                      <a:pt x="525155" y="303387"/>
                      <a:pt x="526008" y="277812"/>
                    </a:cubicBezTo>
                    <a:cubicBezTo>
                      <a:pt x="551875" y="293341"/>
                      <a:pt x="576446" y="310914"/>
                      <a:pt x="599492" y="330363"/>
                    </a:cubicBezTo>
                    <a:cubicBezTo>
                      <a:pt x="599936" y="308228"/>
                      <a:pt x="597829" y="286116"/>
                      <a:pt x="593224" y="264458"/>
                    </a:cubicBezTo>
                    <a:cubicBezTo>
                      <a:pt x="571091" y="245804"/>
                      <a:pt x="547113" y="229446"/>
                      <a:pt x="521654" y="215636"/>
                    </a:cubicBezTo>
                    <a:cubicBezTo>
                      <a:pt x="518381" y="197094"/>
                      <a:pt x="513131" y="178953"/>
                      <a:pt x="505982" y="161525"/>
                    </a:cubicBezTo>
                    <a:cubicBezTo>
                      <a:pt x="505982" y="161525"/>
                      <a:pt x="505982" y="161525"/>
                      <a:pt x="505982" y="161525"/>
                    </a:cubicBezTo>
                    <a:cubicBezTo>
                      <a:pt x="524206" y="171120"/>
                      <a:pt x="541663" y="182077"/>
                      <a:pt x="558223" y="194304"/>
                    </a:cubicBezTo>
                    <a:cubicBezTo>
                      <a:pt x="538250" y="170669"/>
                      <a:pt x="515638" y="149374"/>
                      <a:pt x="490833" y="130827"/>
                    </a:cubicBezTo>
                    <a:cubicBezTo>
                      <a:pt x="486610" y="123785"/>
                      <a:pt x="481961" y="117008"/>
                      <a:pt x="476902" y="110535"/>
                    </a:cubicBezTo>
                    <a:cubicBezTo>
                      <a:pt x="511886" y="134321"/>
                      <a:pt x="543839" y="162246"/>
                      <a:pt x="572066" y="193697"/>
                    </a:cubicBezTo>
                    <a:cubicBezTo>
                      <a:pt x="583664" y="208633"/>
                      <a:pt x="592919" y="225242"/>
                      <a:pt x="599492" y="242952"/>
                    </a:cubicBezTo>
                    <a:cubicBezTo>
                      <a:pt x="601495" y="248155"/>
                      <a:pt x="603236" y="253358"/>
                      <a:pt x="604804" y="258474"/>
                    </a:cubicBezTo>
                    <a:cubicBezTo>
                      <a:pt x="628050" y="336520"/>
                      <a:pt x="613510" y="424104"/>
                      <a:pt x="587390" y="495906"/>
                    </a:cubicBezTo>
                    <a:cubicBezTo>
                      <a:pt x="555611" y="579123"/>
                      <a:pt x="508351" y="655613"/>
                      <a:pt x="448083" y="721371"/>
                    </a:cubicBezTo>
                    <a:lnTo>
                      <a:pt x="559093" y="721371"/>
                    </a:lnTo>
                    <a:cubicBezTo>
                      <a:pt x="569803" y="706109"/>
                      <a:pt x="579554" y="691627"/>
                      <a:pt x="589480" y="674977"/>
                    </a:cubicBezTo>
                    <a:cubicBezTo>
                      <a:pt x="582079" y="663791"/>
                      <a:pt x="548210" y="624334"/>
                      <a:pt x="548210" y="624334"/>
                    </a:cubicBezTo>
                    <a:cubicBezTo>
                      <a:pt x="567008" y="593910"/>
                      <a:pt x="583289" y="562007"/>
                      <a:pt x="596880" y="528945"/>
                    </a:cubicBezTo>
                    <a:cubicBezTo>
                      <a:pt x="611290" y="545057"/>
                      <a:pt x="624777" y="561964"/>
                      <a:pt x="637279" y="579588"/>
                    </a:cubicBezTo>
                    <a:cubicBezTo>
                      <a:pt x="648415" y="552170"/>
                      <a:pt x="656957" y="523777"/>
                      <a:pt x="662790" y="494779"/>
                    </a:cubicBezTo>
                    <a:cubicBezTo>
                      <a:pt x="651019" y="477079"/>
                      <a:pt x="638107" y="460162"/>
                      <a:pt x="624132" y="444136"/>
                    </a:cubicBezTo>
                    <a:cubicBezTo>
                      <a:pt x="630166" y="417650"/>
                      <a:pt x="633579" y="390638"/>
                      <a:pt x="634319" y="363489"/>
                    </a:cubicBezTo>
                    <a:cubicBezTo>
                      <a:pt x="647640" y="379358"/>
                      <a:pt x="665663" y="404506"/>
                      <a:pt x="665663" y="404506"/>
                    </a:cubicBezTo>
                    <a:lnTo>
                      <a:pt x="665663" y="404506"/>
                    </a:lnTo>
                    <a:cubicBezTo>
                      <a:pt x="661702" y="367919"/>
                      <a:pt x="649817" y="332624"/>
                      <a:pt x="630837" y="301053"/>
                    </a:cubicBezTo>
                    <a:cubicBezTo>
                      <a:pt x="630723" y="300031"/>
                      <a:pt x="630549" y="299017"/>
                      <a:pt x="630314" y="298017"/>
                    </a:cubicBezTo>
                    <a:cubicBezTo>
                      <a:pt x="627188" y="282560"/>
                      <a:pt x="623149" y="267300"/>
                      <a:pt x="618212" y="252318"/>
                    </a:cubicBezTo>
                    <a:cubicBezTo>
                      <a:pt x="636879" y="280547"/>
                      <a:pt x="652690" y="310554"/>
                      <a:pt x="665402" y="341896"/>
                    </a:cubicBezTo>
                    <a:cubicBezTo>
                      <a:pt x="678375" y="377457"/>
                      <a:pt x="684775" y="415062"/>
                      <a:pt x="684296" y="452894"/>
                    </a:cubicBezTo>
                    <a:cubicBezTo>
                      <a:pt x="684296" y="475094"/>
                      <a:pt x="679855" y="590862"/>
                      <a:pt x="591134" y="721718"/>
                    </a:cubicBezTo>
                    <a:lnTo>
                      <a:pt x="619083" y="721718"/>
                    </a:lnTo>
                    <a:cubicBezTo>
                      <a:pt x="636801" y="688947"/>
                      <a:pt x="652473" y="655119"/>
                      <a:pt x="666012" y="620432"/>
                    </a:cubicBezTo>
                    <a:cubicBezTo>
                      <a:pt x="666012" y="621560"/>
                      <a:pt x="672542" y="637776"/>
                      <a:pt x="677069" y="654252"/>
                    </a:cubicBezTo>
                    <a:cubicBezTo>
                      <a:pt x="686646" y="620450"/>
                      <a:pt x="693324" y="585901"/>
                      <a:pt x="697007" y="550972"/>
                    </a:cubicBezTo>
                    <a:cubicBezTo>
                      <a:pt x="695876" y="546376"/>
                      <a:pt x="693351" y="538918"/>
                      <a:pt x="691871" y="534322"/>
                    </a:cubicBezTo>
                    <a:cubicBezTo>
                      <a:pt x="695971" y="512965"/>
                      <a:pt x="698879" y="491397"/>
                      <a:pt x="700577" y="469718"/>
                    </a:cubicBezTo>
                    <a:cubicBezTo>
                      <a:pt x="703860" y="493541"/>
                      <a:pt x="705514" y="517559"/>
                      <a:pt x="705540" y="541606"/>
                    </a:cubicBezTo>
                    <a:cubicBezTo>
                      <a:pt x="705584" y="583085"/>
                      <a:pt x="700673" y="624421"/>
                      <a:pt x="690913" y="664745"/>
                    </a:cubicBezTo>
                    <a:cubicBezTo>
                      <a:pt x="685950" y="684343"/>
                      <a:pt x="679942" y="703594"/>
                      <a:pt x="673499" y="721718"/>
                    </a:cubicBezTo>
                    <a:lnTo>
                      <a:pt x="697530" y="721718"/>
                    </a:lnTo>
                    <a:cubicBezTo>
                      <a:pt x="796543" y="438389"/>
                      <a:pt x="646195" y="128765"/>
                      <a:pt x="361722" y="30152"/>
                    </a:cubicBezTo>
                    <a:cubicBezTo>
                      <a:pt x="304603" y="10352"/>
                      <a:pt x="244575" y="152"/>
                      <a:pt x="184096" y="-30"/>
                    </a:cubicBezTo>
                    <a:close/>
                  </a:path>
                </a:pathLst>
              </a:custGeom>
              <a:grpFill/>
              <a:ln w="10319" cap="flat">
                <a:noFill/>
                <a:prstDash val="solid"/>
                <a:miter/>
              </a:ln>
            </p:spPr>
            <p:txBody>
              <a:bodyPr rtlCol="0" anchor="ctr"/>
              <a:lstStyle/>
              <a:p>
                <a:endParaRPr lang="en-GB"/>
              </a:p>
            </p:txBody>
          </p:sp>
          <p:sp>
            <p:nvSpPr>
              <p:cNvPr id="23" name="Freeform 22">
                <a:extLst>
                  <a:ext uri="{FF2B5EF4-FFF2-40B4-BE49-F238E27FC236}">
                    <a16:creationId xmlns:a16="http://schemas.microsoft.com/office/drawing/2014/main" id="{FA779636-F96F-587B-0C5C-B2276132DBE0}"/>
                  </a:ext>
                </a:extLst>
              </p:cNvPr>
              <p:cNvSpPr/>
              <p:nvPr userDrawn="1"/>
            </p:nvSpPr>
            <p:spPr>
              <a:xfrm>
                <a:off x="-210" y="6065298"/>
                <a:ext cx="60959" cy="41199"/>
              </a:xfrm>
              <a:custGeom>
                <a:avLst/>
                <a:gdLst>
                  <a:gd name="connsiteX0" fmla="*/ 17362 w 51195"/>
                  <a:gd name="connsiteY0" fmla="*/ 4653 h 34600"/>
                  <a:gd name="connsiteX1" fmla="*/ -51 w 51195"/>
                  <a:gd name="connsiteY1" fmla="*/ 17227 h 34600"/>
                  <a:gd name="connsiteX2" fmla="*/ -51 w 51195"/>
                  <a:gd name="connsiteY2" fmla="*/ 34570 h 34600"/>
                  <a:gd name="connsiteX3" fmla="*/ 51144 w 51195"/>
                  <a:gd name="connsiteY3" fmla="*/ -30 h 34600"/>
                  <a:gd name="connsiteX4" fmla="*/ 17362 w 51195"/>
                  <a:gd name="connsiteY4" fmla="*/ 4653 h 3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95" h="34600">
                    <a:moveTo>
                      <a:pt x="17362" y="4653"/>
                    </a:moveTo>
                    <a:cubicBezTo>
                      <a:pt x="11442" y="8555"/>
                      <a:pt x="5695" y="12804"/>
                      <a:pt x="-51" y="17227"/>
                    </a:cubicBezTo>
                    <a:lnTo>
                      <a:pt x="-51" y="34570"/>
                    </a:lnTo>
                    <a:cubicBezTo>
                      <a:pt x="16148" y="21814"/>
                      <a:pt x="33258" y="10250"/>
                      <a:pt x="51144" y="-30"/>
                    </a:cubicBezTo>
                    <a:cubicBezTo>
                      <a:pt x="39785" y="714"/>
                      <a:pt x="28495" y="2279"/>
                      <a:pt x="17362" y="4653"/>
                    </a:cubicBezTo>
                    <a:close/>
                  </a:path>
                </a:pathLst>
              </a:custGeom>
              <a:grpFill/>
              <a:ln w="10319" cap="flat">
                <a:noFill/>
                <a:prstDash val="solid"/>
                <a:miter/>
              </a:ln>
            </p:spPr>
            <p:txBody>
              <a:bodyPr rtlCol="0" anchor="ctr"/>
              <a:lstStyle/>
              <a:p>
                <a:endParaRPr lang="en-GB"/>
              </a:p>
            </p:txBody>
          </p:sp>
          <p:sp>
            <p:nvSpPr>
              <p:cNvPr id="24" name="Freeform 23">
                <a:extLst>
                  <a:ext uri="{FF2B5EF4-FFF2-40B4-BE49-F238E27FC236}">
                    <a16:creationId xmlns:a16="http://schemas.microsoft.com/office/drawing/2014/main" id="{DB940DE9-3B92-9486-693C-A3D60AC150A8}"/>
                  </a:ext>
                </a:extLst>
              </p:cNvPr>
              <p:cNvSpPr/>
              <p:nvPr userDrawn="1"/>
            </p:nvSpPr>
            <p:spPr>
              <a:xfrm>
                <a:off x="-3" y="6065298"/>
                <a:ext cx="215183" cy="362016"/>
              </a:xfrm>
              <a:custGeom>
                <a:avLst/>
                <a:gdLst>
                  <a:gd name="connsiteX0" fmla="*/ 85797 w 180715"/>
                  <a:gd name="connsiteY0" fmla="*/ 304001 h 304030"/>
                  <a:gd name="connsiteX1" fmla="*/ 122452 w 180715"/>
                  <a:gd name="connsiteY1" fmla="*/ 259948 h 304030"/>
                  <a:gd name="connsiteX2" fmla="*/ 20584 w 180715"/>
                  <a:gd name="connsiteY2" fmla="*/ 212167 h 304030"/>
                  <a:gd name="connsiteX3" fmla="*/ 36256 w 180715"/>
                  <a:gd name="connsiteY3" fmla="*/ 181816 h 304030"/>
                  <a:gd name="connsiteX4" fmla="*/ 152490 w 180715"/>
                  <a:gd name="connsiteY4" fmla="*/ 211820 h 304030"/>
                  <a:gd name="connsiteX5" fmla="*/ 169904 w 180715"/>
                  <a:gd name="connsiteY5" fmla="*/ 169762 h 304030"/>
                  <a:gd name="connsiteX6" fmla="*/ 44440 w 180715"/>
                  <a:gd name="connsiteY6" fmla="*/ 156581 h 304030"/>
                  <a:gd name="connsiteX7" fmla="*/ 48097 w 180715"/>
                  <a:gd name="connsiteY7" fmla="*/ 131520 h 304030"/>
                  <a:gd name="connsiteX8" fmla="*/ 179307 w 180715"/>
                  <a:gd name="connsiteY8" fmla="*/ 128485 h 304030"/>
                  <a:gd name="connsiteX9" fmla="*/ 180178 w 180715"/>
                  <a:gd name="connsiteY9" fmla="*/ 95099 h 304030"/>
                  <a:gd name="connsiteX10" fmla="*/ 47313 w 180715"/>
                  <a:gd name="connsiteY10" fmla="*/ 112442 h 304030"/>
                  <a:gd name="connsiteX11" fmla="*/ 43221 w 180715"/>
                  <a:gd name="connsiteY11" fmla="*/ 95099 h 304030"/>
                  <a:gd name="connsiteX12" fmla="*/ 173822 w 180715"/>
                  <a:gd name="connsiteY12" fmla="*/ 65181 h 304030"/>
                  <a:gd name="connsiteX13" fmla="*/ 161458 w 180715"/>
                  <a:gd name="connsiteY13" fmla="*/ 42201 h 304030"/>
                  <a:gd name="connsiteX14" fmla="*/ 38171 w 180715"/>
                  <a:gd name="connsiteY14" fmla="*/ 80704 h 304030"/>
                  <a:gd name="connsiteX15" fmla="*/ 37214 w 180715"/>
                  <a:gd name="connsiteY15" fmla="*/ 80704 h 304030"/>
                  <a:gd name="connsiteX16" fmla="*/ 28507 w 180715"/>
                  <a:gd name="connsiteY16" fmla="*/ 68824 h 304030"/>
                  <a:gd name="connsiteX17" fmla="*/ 143087 w 180715"/>
                  <a:gd name="connsiteY17" fmla="*/ 23297 h 304030"/>
                  <a:gd name="connsiteX18" fmla="*/ 122713 w 180715"/>
                  <a:gd name="connsiteY18" fmla="*/ 11157 h 304030"/>
                  <a:gd name="connsiteX19" fmla="*/ 19713 w 180715"/>
                  <a:gd name="connsiteY19" fmla="*/ 60152 h 304030"/>
                  <a:gd name="connsiteX20" fmla="*/ 9265 w 180715"/>
                  <a:gd name="connsiteY20" fmla="*/ 52781 h 304030"/>
                  <a:gd name="connsiteX21" fmla="*/ 99205 w 180715"/>
                  <a:gd name="connsiteY21" fmla="*/ 3352 h 304030"/>
                  <a:gd name="connsiteX22" fmla="*/ 75958 w 180715"/>
                  <a:gd name="connsiteY22" fmla="*/ -30 h 304030"/>
                  <a:gd name="connsiteX23" fmla="*/ -51 w 180715"/>
                  <a:gd name="connsiteY23" fmla="*/ 47751 h 304030"/>
                  <a:gd name="connsiteX24" fmla="*/ -51 w 180715"/>
                  <a:gd name="connsiteY24" fmla="*/ 47751 h 304030"/>
                  <a:gd name="connsiteX25" fmla="*/ -51 w 180715"/>
                  <a:gd name="connsiteY25" fmla="*/ 67610 h 304030"/>
                  <a:gd name="connsiteX26" fmla="*/ 8656 w 180715"/>
                  <a:gd name="connsiteY26" fmla="*/ 73940 h 304030"/>
                  <a:gd name="connsiteX27" fmla="*/ -51 w 180715"/>
                  <a:gd name="connsiteY27" fmla="*/ 203235 h 304030"/>
                  <a:gd name="connsiteX28" fmla="*/ -51 w 180715"/>
                  <a:gd name="connsiteY28" fmla="*/ 243385 h 304030"/>
                  <a:gd name="connsiteX29" fmla="*/ 66033 w 180715"/>
                  <a:gd name="connsiteY29" fmla="*/ 289345 h 304030"/>
                  <a:gd name="connsiteX30" fmla="*/ 85797 w 180715"/>
                  <a:gd name="connsiteY30" fmla="*/ 304001 h 30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0715" h="304030">
                    <a:moveTo>
                      <a:pt x="85797" y="304001"/>
                    </a:moveTo>
                    <a:cubicBezTo>
                      <a:pt x="98978" y="290138"/>
                      <a:pt x="111223" y="275422"/>
                      <a:pt x="122452" y="259948"/>
                    </a:cubicBezTo>
                    <a:cubicBezTo>
                      <a:pt x="94504" y="244253"/>
                      <a:pt x="20584" y="212167"/>
                      <a:pt x="20584" y="212167"/>
                    </a:cubicBezTo>
                    <a:cubicBezTo>
                      <a:pt x="26695" y="202529"/>
                      <a:pt x="31939" y="192373"/>
                      <a:pt x="36256" y="181816"/>
                    </a:cubicBezTo>
                    <a:cubicBezTo>
                      <a:pt x="52189" y="185458"/>
                      <a:pt x="112614" y="199940"/>
                      <a:pt x="152490" y="211820"/>
                    </a:cubicBezTo>
                    <a:cubicBezTo>
                      <a:pt x="159381" y="198272"/>
                      <a:pt x="165203" y="184210"/>
                      <a:pt x="169904" y="169762"/>
                    </a:cubicBezTo>
                    <a:cubicBezTo>
                      <a:pt x="128418" y="162633"/>
                      <a:pt x="86507" y="158229"/>
                      <a:pt x="44440" y="156581"/>
                    </a:cubicBezTo>
                    <a:cubicBezTo>
                      <a:pt x="46527" y="148376"/>
                      <a:pt x="47753" y="139978"/>
                      <a:pt x="48097" y="131520"/>
                    </a:cubicBezTo>
                    <a:cubicBezTo>
                      <a:pt x="51580" y="131520"/>
                      <a:pt x="141520" y="126491"/>
                      <a:pt x="179307" y="128485"/>
                    </a:cubicBezTo>
                    <a:cubicBezTo>
                      <a:pt x="180753" y="117416"/>
                      <a:pt x="181045" y="106227"/>
                      <a:pt x="180178" y="95099"/>
                    </a:cubicBezTo>
                    <a:cubicBezTo>
                      <a:pt x="135482" y="97185"/>
                      <a:pt x="91039" y="102987"/>
                      <a:pt x="47313" y="112442"/>
                    </a:cubicBezTo>
                    <a:cubicBezTo>
                      <a:pt x="46465" y="106552"/>
                      <a:pt x="45097" y="100749"/>
                      <a:pt x="43221" y="95099"/>
                    </a:cubicBezTo>
                    <a:cubicBezTo>
                      <a:pt x="85780" y="81295"/>
                      <a:pt x="129485" y="71284"/>
                      <a:pt x="173822" y="65181"/>
                    </a:cubicBezTo>
                    <a:cubicBezTo>
                      <a:pt x="170801" y="56982"/>
                      <a:pt x="166640" y="49247"/>
                      <a:pt x="161458" y="42201"/>
                    </a:cubicBezTo>
                    <a:cubicBezTo>
                      <a:pt x="119306" y="51399"/>
                      <a:pt x="78050" y="64283"/>
                      <a:pt x="38171" y="80704"/>
                    </a:cubicBezTo>
                    <a:lnTo>
                      <a:pt x="37214" y="80704"/>
                    </a:lnTo>
                    <a:cubicBezTo>
                      <a:pt x="34700" y="76476"/>
                      <a:pt x="31784" y="72497"/>
                      <a:pt x="28507" y="68824"/>
                    </a:cubicBezTo>
                    <a:cubicBezTo>
                      <a:pt x="65262" y="50278"/>
                      <a:pt x="103608" y="35042"/>
                      <a:pt x="143087" y="23297"/>
                    </a:cubicBezTo>
                    <a:cubicBezTo>
                      <a:pt x="136786" y="18485"/>
                      <a:pt x="129949" y="14412"/>
                      <a:pt x="122713" y="11157"/>
                    </a:cubicBezTo>
                    <a:cubicBezTo>
                      <a:pt x="86793" y="23950"/>
                      <a:pt x="52281" y="40367"/>
                      <a:pt x="19713" y="60152"/>
                    </a:cubicBezTo>
                    <a:cubicBezTo>
                      <a:pt x="16411" y="57449"/>
                      <a:pt x="12920" y="54986"/>
                      <a:pt x="9265" y="52781"/>
                    </a:cubicBezTo>
                    <a:cubicBezTo>
                      <a:pt x="37490" y="33320"/>
                      <a:pt x="67625" y="16759"/>
                      <a:pt x="99205" y="3352"/>
                    </a:cubicBezTo>
                    <a:cubicBezTo>
                      <a:pt x="91549" y="1667"/>
                      <a:pt x="83780" y="536"/>
                      <a:pt x="75958" y="-30"/>
                    </a:cubicBezTo>
                    <a:cubicBezTo>
                      <a:pt x="49002" y="13183"/>
                      <a:pt x="23523" y="29199"/>
                      <a:pt x="-51" y="47751"/>
                    </a:cubicBezTo>
                    <a:lnTo>
                      <a:pt x="-51" y="47751"/>
                    </a:lnTo>
                    <a:lnTo>
                      <a:pt x="-51" y="67610"/>
                    </a:lnTo>
                    <a:cubicBezTo>
                      <a:pt x="3050" y="69434"/>
                      <a:pt x="5966" y="71554"/>
                      <a:pt x="8656" y="73940"/>
                    </a:cubicBezTo>
                    <a:cubicBezTo>
                      <a:pt x="38258" y="100649"/>
                      <a:pt x="33470" y="155454"/>
                      <a:pt x="-51" y="203235"/>
                    </a:cubicBezTo>
                    <a:lnTo>
                      <a:pt x="-51" y="243385"/>
                    </a:lnTo>
                    <a:lnTo>
                      <a:pt x="66033" y="289345"/>
                    </a:lnTo>
                    <a:cubicBezTo>
                      <a:pt x="72417" y="293855"/>
                      <a:pt x="79006" y="298740"/>
                      <a:pt x="85797" y="304001"/>
                    </a:cubicBezTo>
                    <a:close/>
                  </a:path>
                </a:pathLst>
              </a:custGeom>
              <a:grpFill/>
              <a:ln w="10319" cap="flat">
                <a:noFill/>
                <a:prstDash val="solid"/>
                <a:miter/>
              </a:ln>
            </p:spPr>
            <p:txBody>
              <a:bodyPr rtlCol="0" anchor="ctr"/>
              <a:lstStyle/>
              <a:p>
                <a:endParaRPr lang="en-GB"/>
              </a:p>
            </p:txBody>
          </p:sp>
        </p:grpSp>
      </p:grpSp>
    </p:spTree>
    <p:extLst>
      <p:ext uri="{BB962C8B-B14F-4D97-AF65-F5344CB8AC3E}">
        <p14:creationId xmlns:p14="http://schemas.microsoft.com/office/powerpoint/2010/main" val="27169787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Header ">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128E1D9-3EFE-92F5-4AA6-3ED0F5E86B1D}"/>
              </a:ext>
            </a:extLst>
          </p:cNvPr>
          <p:cNvSpPr/>
          <p:nvPr userDrawn="1"/>
        </p:nvSpPr>
        <p:spPr>
          <a:xfrm>
            <a:off x="11426824" y="-1"/>
            <a:ext cx="765176"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4A549B9-9B7A-646E-B2B4-5CBC9EECB92C}"/>
              </a:ext>
            </a:extLst>
          </p:cNvPr>
          <p:cNvSpPr/>
          <p:nvPr userDrawn="1"/>
        </p:nvSpPr>
        <p:spPr>
          <a:xfrm>
            <a:off x="9525000" y="-1"/>
            <a:ext cx="1901824"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3440DBD-72F9-81C3-F1A8-D1F0AD3D40DF}"/>
              </a:ext>
            </a:extLst>
          </p:cNvPr>
          <p:cNvSpPr/>
          <p:nvPr userDrawn="1"/>
        </p:nvSpPr>
        <p:spPr>
          <a:xfrm>
            <a:off x="0" y="-5286"/>
            <a:ext cx="6867525" cy="6861600"/>
          </a:xfrm>
          <a:prstGeom prst="rect">
            <a:avLst/>
          </a:prstGeom>
          <a:solidFill>
            <a:srgbClr val="1514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96221CF-38A5-A530-5A28-BEAFC33F9E55}"/>
              </a:ext>
            </a:extLst>
          </p:cNvPr>
          <p:cNvSpPr/>
          <p:nvPr userDrawn="1"/>
        </p:nvSpPr>
        <p:spPr>
          <a:xfrm>
            <a:off x="6867524" y="-1"/>
            <a:ext cx="2657476" cy="6861600"/>
          </a:xfrm>
          <a:prstGeom prst="rect">
            <a:avLst/>
          </a:prstGeom>
          <a:solidFill>
            <a:srgbClr val="001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58F4B83C-0516-6810-646C-9C98D97AB189}"/>
              </a:ext>
            </a:extLst>
          </p:cNvPr>
          <p:cNvSpPr>
            <a:spLocks noGrp="1"/>
          </p:cNvSpPr>
          <p:nvPr>
            <p:ph type="body" idx="1" hasCustomPrompt="1"/>
          </p:nvPr>
        </p:nvSpPr>
        <p:spPr>
          <a:xfrm>
            <a:off x="392400" y="3060000"/>
            <a:ext cx="6082665" cy="482183"/>
          </a:xfrm>
        </p:spPr>
        <p:txBody>
          <a:bodyPr>
            <a:spAutoFit/>
          </a:bodyPr>
          <a:lstStyle>
            <a:lvl1pPr marL="0" indent="0">
              <a:spcBef>
                <a:spcPts val="0"/>
              </a:spcBef>
              <a:spcAft>
                <a:spcPts val="400"/>
              </a:spcAft>
              <a:buNone/>
              <a:defRPr sz="1600">
                <a:solidFill>
                  <a:schemeClr val="bg1"/>
                </a:solidFill>
              </a:defRPr>
            </a:lvl1pPr>
            <a:lvl2pPr marL="0" indent="0">
              <a:buNone/>
              <a:defRPr sz="1200">
                <a:solidFill>
                  <a:schemeClr val="bg1"/>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Presenter Name</a:t>
            </a:r>
          </a:p>
          <a:p>
            <a:pPr lvl="1"/>
            <a:r>
              <a:rPr lang="en-US"/>
              <a:t>Presenter Title</a:t>
            </a:r>
            <a:endParaRPr lang="en-GB"/>
          </a:p>
        </p:txBody>
      </p:sp>
      <p:sp>
        <p:nvSpPr>
          <p:cNvPr id="6" name="Slide Number Placeholder 5">
            <a:extLst>
              <a:ext uri="{FF2B5EF4-FFF2-40B4-BE49-F238E27FC236}">
                <a16:creationId xmlns:a16="http://schemas.microsoft.com/office/drawing/2014/main" id="{861920A1-CC0A-0DAB-DFEE-28314A09263D}"/>
              </a:ext>
            </a:extLst>
          </p:cNvPr>
          <p:cNvSpPr>
            <a:spLocks noGrp="1"/>
          </p:cNvSpPr>
          <p:nvPr>
            <p:ph type="sldNum" sz="quarter" idx="12"/>
          </p:nvPr>
        </p:nvSpPr>
        <p:spPr/>
        <p:txBody>
          <a:bodyPr/>
          <a:lstStyle>
            <a:lvl1pPr>
              <a:defRPr>
                <a:solidFill>
                  <a:schemeClr val="tx2"/>
                </a:solidFill>
              </a:defRPr>
            </a:lvl1pPr>
          </a:lstStyle>
          <a:p>
            <a:fld id="{24FD2396-7F2C-D741-B592-F93892A44B62}" type="slidenum">
              <a:rPr lang="en-GB" smtClean="0"/>
              <a:pPr/>
              <a:t>‹#›</a:t>
            </a:fld>
            <a:endParaRPr lang="en-GB"/>
          </a:p>
        </p:txBody>
      </p:sp>
      <p:sp>
        <p:nvSpPr>
          <p:cNvPr id="15" name="Title 1">
            <a:extLst>
              <a:ext uri="{FF2B5EF4-FFF2-40B4-BE49-F238E27FC236}">
                <a16:creationId xmlns:a16="http://schemas.microsoft.com/office/drawing/2014/main" id="{47C9983F-0604-3EC0-D737-5E72F4CCD59A}"/>
              </a:ext>
            </a:extLst>
          </p:cNvPr>
          <p:cNvSpPr>
            <a:spLocks noGrp="1"/>
          </p:cNvSpPr>
          <p:nvPr>
            <p:ph type="ctrTitle"/>
          </p:nvPr>
        </p:nvSpPr>
        <p:spPr>
          <a:xfrm>
            <a:off x="391160" y="1152000"/>
            <a:ext cx="6082665" cy="1384995"/>
          </a:xfrm>
        </p:spPr>
        <p:txBody>
          <a:bodyPr wrap="square" anchor="t">
            <a:spAutoFit/>
          </a:bodyPr>
          <a:lstStyle>
            <a:lvl1pPr algn="l">
              <a:defRPr sz="5000" b="0">
                <a:solidFill>
                  <a:schemeClr val="bg1"/>
                </a:solidFill>
              </a:defRPr>
            </a:lvl1pPr>
          </a:lstStyle>
          <a:p>
            <a:r>
              <a:rPr lang="en-GB"/>
              <a:t>Click to edit Master title style</a:t>
            </a:r>
          </a:p>
        </p:txBody>
      </p:sp>
      <p:sp>
        <p:nvSpPr>
          <p:cNvPr id="2" name="Picture Placeholder 5">
            <a:extLst>
              <a:ext uri="{FF2B5EF4-FFF2-40B4-BE49-F238E27FC236}">
                <a16:creationId xmlns:a16="http://schemas.microsoft.com/office/drawing/2014/main" id="{E7CE1986-54E9-A9BC-DE82-F1C0FBCD17CC}"/>
              </a:ext>
            </a:extLst>
          </p:cNvPr>
          <p:cNvSpPr>
            <a:spLocks noGrp="1"/>
          </p:cNvSpPr>
          <p:nvPr>
            <p:ph type="pic" sz="quarter" idx="13" hasCustomPrompt="1"/>
          </p:nvPr>
        </p:nvSpPr>
        <p:spPr>
          <a:xfrm>
            <a:off x="6867524" y="0"/>
            <a:ext cx="2657475" cy="6859588"/>
          </a:xfrm>
          <a:blipFill dpi="0" rotWithShape="1">
            <a:blip r:embed="rId2"/>
            <a:srcRect/>
            <a:tile tx="0" ty="0" sx="100000" sy="100000" flip="none" algn="tl"/>
          </a:blipFill>
        </p:spPr>
        <p:txBody>
          <a:bodyPr lIns="72000" tIns="36000"/>
          <a:lstStyle>
            <a:lvl1pPr>
              <a:defRPr>
                <a:solidFill>
                  <a:schemeClr val="bg1"/>
                </a:solidFill>
              </a:defRPr>
            </a:lvl1pPr>
          </a:lstStyle>
          <a:p>
            <a:r>
              <a:rPr lang="en-US"/>
              <a:t>Insert image here or delete</a:t>
            </a:r>
          </a:p>
        </p:txBody>
      </p:sp>
    </p:spTree>
    <p:extLst>
      <p:ext uri="{BB962C8B-B14F-4D97-AF65-F5344CB8AC3E}">
        <p14:creationId xmlns:p14="http://schemas.microsoft.com/office/powerpoint/2010/main" val="42893507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128E1D9-3EFE-92F5-4AA6-3ED0F5E86B1D}"/>
              </a:ext>
            </a:extLst>
          </p:cNvPr>
          <p:cNvSpPr/>
          <p:nvPr userDrawn="1"/>
        </p:nvSpPr>
        <p:spPr>
          <a:xfrm>
            <a:off x="11045825" y="-2"/>
            <a:ext cx="1146175"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96221CF-38A5-A530-5A28-BEAFC33F9E55}"/>
              </a:ext>
            </a:extLst>
          </p:cNvPr>
          <p:cNvSpPr/>
          <p:nvPr userDrawn="1"/>
        </p:nvSpPr>
        <p:spPr>
          <a:xfrm>
            <a:off x="6867524" y="-1"/>
            <a:ext cx="2590801" cy="68638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3440DBD-72F9-81C3-F1A8-D1F0AD3D40DF}"/>
              </a:ext>
            </a:extLst>
          </p:cNvPr>
          <p:cNvSpPr/>
          <p:nvPr userDrawn="1"/>
        </p:nvSpPr>
        <p:spPr>
          <a:xfrm>
            <a:off x="0" y="-2"/>
            <a:ext cx="6867525" cy="686383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4A549B9-9B7A-646E-B2B4-5CBC9EECB92C}"/>
              </a:ext>
            </a:extLst>
          </p:cNvPr>
          <p:cNvSpPr/>
          <p:nvPr userDrawn="1"/>
        </p:nvSpPr>
        <p:spPr>
          <a:xfrm>
            <a:off x="9144000" y="-2"/>
            <a:ext cx="2282825" cy="686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6" name="Slide Number Placeholder 5">
            <a:extLst>
              <a:ext uri="{FF2B5EF4-FFF2-40B4-BE49-F238E27FC236}">
                <a16:creationId xmlns:a16="http://schemas.microsoft.com/office/drawing/2014/main" id="{861920A1-CC0A-0DAB-DFEE-28314A09263D}"/>
              </a:ext>
            </a:extLst>
          </p:cNvPr>
          <p:cNvSpPr>
            <a:spLocks noGrp="1"/>
          </p:cNvSpPr>
          <p:nvPr>
            <p:ph type="sldNum" sz="quarter" idx="12"/>
          </p:nvPr>
        </p:nvSpPr>
        <p:spPr/>
        <p:txBody>
          <a:bodyPr/>
          <a:lstStyle>
            <a:lvl1pPr>
              <a:defRPr>
                <a:solidFill>
                  <a:schemeClr val="bg1"/>
                </a:solidFill>
              </a:defRPr>
            </a:lvl1pPr>
          </a:lstStyle>
          <a:p>
            <a:fld id="{24FD2396-7F2C-D741-B592-F93892A44B62}" type="slidenum">
              <a:rPr lang="en-GB" smtClean="0"/>
              <a:pPr/>
              <a:t>‹#›</a:t>
            </a:fld>
            <a:endParaRPr lang="en-GB"/>
          </a:p>
        </p:txBody>
      </p:sp>
      <p:sp>
        <p:nvSpPr>
          <p:cNvPr id="41" name="Title 1">
            <a:extLst>
              <a:ext uri="{FF2B5EF4-FFF2-40B4-BE49-F238E27FC236}">
                <a16:creationId xmlns:a16="http://schemas.microsoft.com/office/drawing/2014/main" id="{4012D367-0B2D-FDC8-DCBC-B7230BA2F6F4}"/>
              </a:ext>
            </a:extLst>
          </p:cNvPr>
          <p:cNvSpPr>
            <a:spLocks noGrp="1"/>
          </p:cNvSpPr>
          <p:nvPr>
            <p:ph type="ctrTitle"/>
          </p:nvPr>
        </p:nvSpPr>
        <p:spPr>
          <a:xfrm>
            <a:off x="391160" y="1153160"/>
            <a:ext cx="6082665" cy="1384995"/>
          </a:xfrm>
        </p:spPr>
        <p:txBody>
          <a:bodyPr wrap="square" anchor="t">
            <a:spAutoFit/>
          </a:bodyPr>
          <a:lstStyle>
            <a:lvl1pPr algn="l">
              <a:defRPr sz="5000" b="0">
                <a:solidFill>
                  <a:schemeClr val="bg1"/>
                </a:solidFill>
              </a:defRPr>
            </a:lvl1pPr>
          </a:lstStyle>
          <a:p>
            <a:r>
              <a:rPr lang="en-GB"/>
              <a:t>Click to edit Master title style</a:t>
            </a:r>
          </a:p>
        </p:txBody>
      </p:sp>
      <p:sp>
        <p:nvSpPr>
          <p:cNvPr id="9" name="Text Placeholder 2">
            <a:extLst>
              <a:ext uri="{FF2B5EF4-FFF2-40B4-BE49-F238E27FC236}">
                <a16:creationId xmlns:a16="http://schemas.microsoft.com/office/drawing/2014/main" id="{58F4B83C-0516-6810-646C-9C98D97AB189}"/>
              </a:ext>
            </a:extLst>
          </p:cNvPr>
          <p:cNvSpPr>
            <a:spLocks noGrp="1"/>
          </p:cNvSpPr>
          <p:nvPr>
            <p:ph type="body" idx="1" hasCustomPrompt="1"/>
          </p:nvPr>
        </p:nvSpPr>
        <p:spPr>
          <a:xfrm>
            <a:off x="392400" y="3060000"/>
            <a:ext cx="6082665" cy="482183"/>
          </a:xfrm>
        </p:spPr>
        <p:txBody>
          <a:bodyPr>
            <a:spAutoFit/>
          </a:bodyPr>
          <a:lstStyle>
            <a:lvl1pPr marL="0" indent="0">
              <a:spcBef>
                <a:spcPts val="0"/>
              </a:spcBef>
              <a:spcAft>
                <a:spcPts val="400"/>
              </a:spcAft>
              <a:buNone/>
              <a:defRPr sz="1600">
                <a:solidFill>
                  <a:schemeClr val="bg1"/>
                </a:solidFill>
              </a:defRPr>
            </a:lvl1pPr>
            <a:lvl2pPr marL="0" indent="0">
              <a:buNone/>
              <a:defRPr sz="1200">
                <a:solidFill>
                  <a:schemeClr val="bg1"/>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Presenter Name</a:t>
            </a:r>
          </a:p>
          <a:p>
            <a:pPr lvl="1"/>
            <a:r>
              <a:rPr lang="en-US"/>
              <a:t>Presenter Title</a:t>
            </a:r>
            <a:endParaRPr lang="en-GB"/>
          </a:p>
        </p:txBody>
      </p:sp>
    </p:spTree>
    <p:extLst>
      <p:ext uri="{BB962C8B-B14F-4D97-AF65-F5344CB8AC3E}">
        <p14:creationId xmlns:p14="http://schemas.microsoft.com/office/powerpoint/2010/main" val="5856783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ction Header for Prin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6FAEA3B-2CCA-8B79-9964-61FC966B41A9}"/>
              </a:ext>
            </a:extLst>
          </p:cNvPr>
          <p:cNvGrpSpPr/>
          <p:nvPr userDrawn="1"/>
        </p:nvGrpSpPr>
        <p:grpSpPr>
          <a:xfrm>
            <a:off x="10664826" y="-2"/>
            <a:ext cx="1527174" cy="6863830"/>
            <a:chOff x="9906000" y="-2"/>
            <a:chExt cx="2286000" cy="6863830"/>
          </a:xfrm>
        </p:grpSpPr>
        <p:sp>
          <p:nvSpPr>
            <p:cNvPr id="3" name="Rectangle 2">
              <a:extLst>
                <a:ext uri="{FF2B5EF4-FFF2-40B4-BE49-F238E27FC236}">
                  <a16:creationId xmlns:a16="http://schemas.microsoft.com/office/drawing/2014/main" id="{2D704BDA-063A-DACF-B2E0-6517042B1F33}"/>
                </a:ext>
              </a:extLst>
            </p:cNvPr>
            <p:cNvSpPr/>
            <p:nvPr userDrawn="1"/>
          </p:nvSpPr>
          <p:spPr>
            <a:xfrm>
              <a:off x="11814175" y="-2"/>
              <a:ext cx="377825"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883A43CF-4BFB-95C7-9655-4C950D08D748}"/>
                </a:ext>
              </a:extLst>
            </p:cNvPr>
            <p:cNvSpPr/>
            <p:nvPr userDrawn="1"/>
          </p:nvSpPr>
          <p:spPr>
            <a:xfrm>
              <a:off x="9906000" y="-1"/>
              <a:ext cx="1136650" cy="68638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26F72DE-E919-EA01-A48C-CA490B9E5338}"/>
                </a:ext>
              </a:extLst>
            </p:cNvPr>
            <p:cNvSpPr/>
            <p:nvPr userDrawn="1"/>
          </p:nvSpPr>
          <p:spPr>
            <a:xfrm>
              <a:off x="11045825" y="-2"/>
              <a:ext cx="76835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sp>
        <p:nvSpPr>
          <p:cNvPr id="7" name="Slide Number Placeholder 5">
            <a:extLst>
              <a:ext uri="{FF2B5EF4-FFF2-40B4-BE49-F238E27FC236}">
                <a16:creationId xmlns:a16="http://schemas.microsoft.com/office/drawing/2014/main" id="{FDE9173D-55AC-87D8-D3AC-0375662898BB}"/>
              </a:ext>
            </a:extLst>
          </p:cNvPr>
          <p:cNvSpPr>
            <a:spLocks noGrp="1"/>
          </p:cNvSpPr>
          <p:nvPr>
            <p:ph type="sldNum" sz="quarter" idx="12"/>
          </p:nvPr>
        </p:nvSpPr>
        <p:spPr>
          <a:xfrm>
            <a:off x="11379000" y="6473323"/>
            <a:ext cx="432000" cy="184666"/>
          </a:xfrm>
        </p:spPr>
        <p:txBody>
          <a:bodyPr/>
          <a:lstStyle>
            <a:lvl1pPr>
              <a:defRPr>
                <a:solidFill>
                  <a:schemeClr val="bg1"/>
                </a:solidFill>
              </a:defRPr>
            </a:lvl1pPr>
          </a:lstStyle>
          <a:p>
            <a:fld id="{24FD2396-7F2C-D741-B592-F93892A44B62}" type="slidenum">
              <a:rPr lang="en-GB" smtClean="0"/>
              <a:pPr/>
              <a:t>‹#›</a:t>
            </a:fld>
            <a:endParaRPr lang="en-GB"/>
          </a:p>
        </p:txBody>
      </p:sp>
      <p:sp>
        <p:nvSpPr>
          <p:cNvPr id="9" name="Title 1">
            <a:extLst>
              <a:ext uri="{FF2B5EF4-FFF2-40B4-BE49-F238E27FC236}">
                <a16:creationId xmlns:a16="http://schemas.microsoft.com/office/drawing/2014/main" id="{4F056ED1-AB1E-8731-B4A8-24F2489F02A5}"/>
              </a:ext>
            </a:extLst>
          </p:cNvPr>
          <p:cNvSpPr>
            <a:spLocks noGrp="1"/>
          </p:cNvSpPr>
          <p:nvPr>
            <p:ph type="ctrTitle"/>
          </p:nvPr>
        </p:nvSpPr>
        <p:spPr>
          <a:xfrm>
            <a:off x="391160" y="1153160"/>
            <a:ext cx="6082665" cy="1384995"/>
          </a:xfrm>
        </p:spPr>
        <p:txBody>
          <a:bodyPr wrap="square" anchor="t">
            <a:spAutoFit/>
          </a:bodyPr>
          <a:lstStyle>
            <a:lvl1pPr algn="l">
              <a:defRPr sz="5000" b="0">
                <a:solidFill>
                  <a:schemeClr val="tx1"/>
                </a:solidFill>
              </a:defRPr>
            </a:lvl1pPr>
          </a:lstStyle>
          <a:p>
            <a:r>
              <a:rPr lang="en-GB"/>
              <a:t>Click to edit Master title style</a:t>
            </a:r>
          </a:p>
        </p:txBody>
      </p:sp>
      <p:sp>
        <p:nvSpPr>
          <p:cNvPr id="10" name="Text Placeholder 2">
            <a:extLst>
              <a:ext uri="{FF2B5EF4-FFF2-40B4-BE49-F238E27FC236}">
                <a16:creationId xmlns:a16="http://schemas.microsoft.com/office/drawing/2014/main" id="{58F4B83C-0516-6810-646C-9C98D97AB189}"/>
              </a:ext>
            </a:extLst>
          </p:cNvPr>
          <p:cNvSpPr>
            <a:spLocks noGrp="1"/>
          </p:cNvSpPr>
          <p:nvPr>
            <p:ph type="body" idx="1" hasCustomPrompt="1"/>
          </p:nvPr>
        </p:nvSpPr>
        <p:spPr>
          <a:xfrm>
            <a:off x="392400" y="3060000"/>
            <a:ext cx="6082665" cy="482183"/>
          </a:xfrm>
        </p:spPr>
        <p:txBody>
          <a:bodyPr>
            <a:spAutoFit/>
          </a:bodyPr>
          <a:lstStyle>
            <a:lvl1pPr marL="0" indent="0">
              <a:spcBef>
                <a:spcPts val="0"/>
              </a:spcBef>
              <a:spcAft>
                <a:spcPts val="400"/>
              </a:spcAft>
              <a:buNone/>
              <a:defRPr sz="1600">
                <a:solidFill>
                  <a:schemeClr val="tx2"/>
                </a:solidFill>
              </a:defRPr>
            </a:lvl1pPr>
            <a:lvl2pPr marL="0" indent="0">
              <a:buNone/>
              <a:defRPr sz="1200">
                <a:solidFill>
                  <a:schemeClr val="tx2"/>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Presenter Name</a:t>
            </a:r>
          </a:p>
          <a:p>
            <a:pPr lvl="1"/>
            <a:r>
              <a:rPr lang="en-US"/>
              <a:t>Presenter Title</a:t>
            </a:r>
            <a:endParaRPr lang="en-GB"/>
          </a:p>
        </p:txBody>
      </p:sp>
    </p:spTree>
    <p:extLst>
      <p:ext uri="{BB962C8B-B14F-4D97-AF65-F5344CB8AC3E}">
        <p14:creationId xmlns:p14="http://schemas.microsoft.com/office/powerpoint/2010/main" val="198700930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C95E368-70DB-F07B-0C5A-2627748FF70C}"/>
              </a:ext>
            </a:extLst>
          </p:cNvPr>
          <p:cNvSpPr/>
          <p:nvPr userDrawn="1"/>
        </p:nvSpPr>
        <p:spPr>
          <a:xfrm flipV="1">
            <a:off x="0" y="3047999"/>
            <a:ext cx="4186239" cy="3809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B04AE6D4-A3EA-98C5-F9C9-F043B07BB8FF}"/>
              </a:ext>
            </a:extLst>
          </p:cNvPr>
          <p:cNvSpPr/>
          <p:nvPr userDrawn="1"/>
        </p:nvSpPr>
        <p:spPr>
          <a:xfrm flipV="1">
            <a:off x="0" y="1"/>
            <a:ext cx="4186239" cy="304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8" name="Rectangle 7">
            <a:extLst>
              <a:ext uri="{FF2B5EF4-FFF2-40B4-BE49-F238E27FC236}">
                <a16:creationId xmlns:a16="http://schemas.microsoft.com/office/drawing/2014/main" id="{F0D4E497-96DD-8CA1-3CA7-6596933F45A1}"/>
              </a:ext>
            </a:extLst>
          </p:cNvPr>
          <p:cNvSpPr/>
          <p:nvPr userDrawn="1"/>
        </p:nvSpPr>
        <p:spPr>
          <a:xfrm>
            <a:off x="4186239" y="1"/>
            <a:ext cx="8005761"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BE5953D-0B71-E3B4-906E-497A5DB1AF90}"/>
              </a:ext>
            </a:extLst>
          </p:cNvPr>
          <p:cNvSpPr>
            <a:spLocks noGrp="1"/>
          </p:cNvSpPr>
          <p:nvPr>
            <p:ph type="title" hasCustomPrompt="1"/>
          </p:nvPr>
        </p:nvSpPr>
        <p:spPr>
          <a:xfrm>
            <a:off x="381001" y="346076"/>
            <a:ext cx="3427414" cy="762000"/>
          </a:xfrm>
        </p:spPr>
        <p:txBody>
          <a:bodyPr/>
          <a:lstStyle>
            <a:lvl1pPr>
              <a:defRPr>
                <a:solidFill>
                  <a:schemeClr val="bg1"/>
                </a:solidFill>
              </a:defRPr>
            </a:lvl1pPr>
          </a:lstStyle>
          <a:p>
            <a:r>
              <a:rPr lang="en-GB"/>
              <a:t>Agenda</a:t>
            </a:r>
          </a:p>
        </p:txBody>
      </p:sp>
      <p:sp>
        <p:nvSpPr>
          <p:cNvPr id="6" name="Text Placeholder 5">
            <a:extLst>
              <a:ext uri="{FF2B5EF4-FFF2-40B4-BE49-F238E27FC236}">
                <a16:creationId xmlns:a16="http://schemas.microsoft.com/office/drawing/2014/main" id="{5951D23C-7E0F-0338-F811-E3F7329FA5C0}"/>
              </a:ext>
            </a:extLst>
          </p:cNvPr>
          <p:cNvSpPr>
            <a:spLocks noGrp="1"/>
          </p:cNvSpPr>
          <p:nvPr>
            <p:ph type="body" sz="quarter" idx="17" hasCustomPrompt="1"/>
          </p:nvPr>
        </p:nvSpPr>
        <p:spPr>
          <a:xfrm>
            <a:off x="4572001" y="381000"/>
            <a:ext cx="7242174" cy="5329238"/>
          </a:xfrm>
        </p:spPr>
        <p:txBody>
          <a:bodyPr/>
          <a:lstStyle>
            <a:lvl1pPr marL="539750" indent="-539750">
              <a:buFont typeface="+mj-lt"/>
              <a:buAutoNum type="arabicPeriod"/>
              <a:tabLst>
                <a:tab pos="5770563" algn="l"/>
                <a:tab pos="5997575" algn="l"/>
              </a:tabLst>
              <a:defRPr sz="3200">
                <a:solidFill>
                  <a:schemeClr val="bg1"/>
                </a:solidFill>
              </a:defRPr>
            </a:lvl1pPr>
            <a:lvl2pPr marL="846138" indent="-307975">
              <a:buFont typeface="Arial" panose="020B0604020202020204" pitchFamily="34" charset="0"/>
              <a:buChar char="•"/>
              <a:tabLst/>
              <a:defRPr>
                <a:solidFill>
                  <a:schemeClr val="bg1"/>
                </a:solidFill>
              </a:defRPr>
            </a:lvl2pPr>
            <a:lvl3pPr marL="12700" indent="0">
              <a:buFont typeface="Arial" panose="020B0604020202020204" pitchFamily="34" charset="0"/>
              <a:buNone/>
              <a:tabLst/>
              <a:defRPr>
                <a:solidFill>
                  <a:schemeClr val="bg1"/>
                </a:solidFill>
              </a:defRPr>
            </a:lvl3pPr>
            <a:lvl4pPr marL="12700" indent="0">
              <a:buFont typeface="Arial" panose="020B0604020202020204" pitchFamily="34" charset="0"/>
              <a:buNone/>
              <a:tabLst/>
              <a:defRPr>
                <a:solidFill>
                  <a:schemeClr val="bg1"/>
                </a:solidFill>
              </a:defRPr>
            </a:lvl4pPr>
            <a:lvl5pPr marL="12700" indent="0">
              <a:buFont typeface="Arial" panose="020B0604020202020204" pitchFamily="34" charset="0"/>
              <a:buNone/>
              <a:tabLst/>
              <a:defRPr>
                <a:solidFill>
                  <a:schemeClr val="bg1"/>
                </a:solidFill>
              </a:defRPr>
            </a:lvl5pPr>
          </a:lstStyle>
          <a:p>
            <a:pPr marL="539750" marR="0" lvl="0" indent="-539750" algn="l" defTabSz="914400" rtl="0" eaLnBrk="1" fontAlgn="auto" latinLnBrk="0" hangingPunct="1">
              <a:lnSpc>
                <a:spcPct val="100000"/>
              </a:lnSpc>
              <a:spcBef>
                <a:spcPts val="600"/>
              </a:spcBef>
              <a:spcAft>
                <a:spcPts val="600"/>
              </a:spcAft>
              <a:buClrTx/>
              <a:buSzTx/>
              <a:buFont typeface="+mj-lt"/>
              <a:buAutoNum type="arabicPeriod"/>
              <a:tabLst>
                <a:tab pos="6120000" algn="l"/>
              </a:tabLst>
              <a:defRPr/>
            </a:pPr>
            <a:r>
              <a:rPr lang="en-GB"/>
              <a:t>Section header	##</a:t>
            </a:r>
          </a:p>
          <a:p>
            <a:pPr lvl="1"/>
            <a:r>
              <a:rPr lang="en-GB"/>
              <a:t>Second level</a:t>
            </a:r>
          </a:p>
          <a:p>
            <a:pPr lvl="2"/>
            <a:r>
              <a:rPr lang="en-GB"/>
              <a:t>Third level</a:t>
            </a:r>
          </a:p>
          <a:p>
            <a:pPr lvl="3"/>
            <a:r>
              <a:rPr lang="en-GB"/>
              <a:t>Fourth level</a:t>
            </a:r>
          </a:p>
          <a:p>
            <a:pPr lvl="4"/>
            <a:r>
              <a:rPr lang="en-GB"/>
              <a:t>Fifth level</a:t>
            </a:r>
            <a:endParaRPr lang="en-US"/>
          </a:p>
        </p:txBody>
      </p:sp>
      <p:sp>
        <p:nvSpPr>
          <p:cNvPr id="3" name="Footer Placeholder 2">
            <a:extLst>
              <a:ext uri="{FF2B5EF4-FFF2-40B4-BE49-F238E27FC236}">
                <a16:creationId xmlns:a16="http://schemas.microsoft.com/office/drawing/2014/main" id="{09821CFF-B682-6257-52B3-A8A487A0CC14}"/>
              </a:ext>
            </a:extLst>
          </p:cNvPr>
          <p:cNvSpPr>
            <a:spLocks noGrp="1"/>
          </p:cNvSpPr>
          <p:nvPr>
            <p:ph type="ftr" sz="quarter" idx="18"/>
          </p:nvPr>
        </p:nvSpPr>
        <p:spPr/>
        <p:txBody>
          <a:bodyPr/>
          <a:lstStyle>
            <a:lvl1pPr>
              <a:defRPr>
                <a:solidFill>
                  <a:schemeClr val="bg1"/>
                </a:solidFill>
              </a:defRPr>
            </a:lvl1pPr>
          </a:lstStyle>
          <a:p>
            <a:r>
              <a:rPr lang="en-GB"/>
              <a:t>Slide footer </a:t>
            </a:r>
          </a:p>
        </p:txBody>
      </p:sp>
      <p:sp>
        <p:nvSpPr>
          <p:cNvPr id="5" name="Slide Number Placeholder 4">
            <a:extLst>
              <a:ext uri="{FF2B5EF4-FFF2-40B4-BE49-F238E27FC236}">
                <a16:creationId xmlns:a16="http://schemas.microsoft.com/office/drawing/2014/main" id="{E7B290DE-3F2C-B356-6613-406208FE59B0}"/>
              </a:ext>
            </a:extLst>
          </p:cNvPr>
          <p:cNvSpPr>
            <a:spLocks noGrp="1"/>
          </p:cNvSpPr>
          <p:nvPr>
            <p:ph type="sldNum" sz="quarter" idx="19"/>
          </p:nvPr>
        </p:nvSpPr>
        <p:spPr/>
        <p:txBody>
          <a:bodyPr/>
          <a:lstStyle>
            <a:lvl1pPr>
              <a:defRPr>
                <a:solidFill>
                  <a:schemeClr val="bg1"/>
                </a:solidFill>
              </a:defRPr>
            </a:lvl1pPr>
          </a:lstStyle>
          <a:p>
            <a:fld id="{24FD2396-7F2C-D741-B592-F93892A44B62}" type="slidenum">
              <a:rPr lang="en-GB" smtClean="0"/>
              <a:pPr/>
              <a:t>‹#›</a:t>
            </a:fld>
            <a:endParaRPr lang="en-GB"/>
          </a:p>
        </p:txBody>
      </p:sp>
      <p:grpSp>
        <p:nvGrpSpPr>
          <p:cNvPr id="29" name="Group 28">
            <a:extLst>
              <a:ext uri="{FF2B5EF4-FFF2-40B4-BE49-F238E27FC236}">
                <a16:creationId xmlns:a16="http://schemas.microsoft.com/office/drawing/2014/main" id="{10808D3D-FEC5-15BD-AABB-D8D6FCFF2CD8}"/>
              </a:ext>
            </a:extLst>
          </p:cNvPr>
          <p:cNvGrpSpPr>
            <a:grpSpLocks noChangeAspect="1"/>
          </p:cNvGrpSpPr>
          <p:nvPr userDrawn="1"/>
        </p:nvGrpSpPr>
        <p:grpSpPr>
          <a:xfrm>
            <a:off x="0" y="6187499"/>
            <a:ext cx="676507" cy="670502"/>
            <a:chOff x="104189" y="6437037"/>
            <a:chExt cx="329877" cy="326949"/>
          </a:xfrm>
          <a:solidFill>
            <a:schemeClr val="bg1"/>
          </a:solidFill>
        </p:grpSpPr>
        <p:sp>
          <p:nvSpPr>
            <p:cNvPr id="30" name="Freeform 29">
              <a:extLst>
                <a:ext uri="{FF2B5EF4-FFF2-40B4-BE49-F238E27FC236}">
                  <a16:creationId xmlns:a16="http://schemas.microsoft.com/office/drawing/2014/main" id="{1EFBF5B4-7A36-E175-7DF5-779FDF4CC7FF}"/>
                </a:ext>
              </a:extLst>
            </p:cNvPr>
            <p:cNvSpPr/>
            <p:nvPr/>
          </p:nvSpPr>
          <p:spPr>
            <a:xfrm>
              <a:off x="104267" y="6599354"/>
              <a:ext cx="17196" cy="32408"/>
            </a:xfrm>
            <a:custGeom>
              <a:avLst/>
              <a:gdLst>
                <a:gd name="connsiteX0" fmla="*/ -51 w 17196"/>
                <a:gd name="connsiteY0" fmla="*/ -30 h 32408"/>
                <a:gd name="connsiteX1" fmla="*/ -51 w 17196"/>
                <a:gd name="connsiteY1" fmla="*/ 32378 h 32408"/>
                <a:gd name="connsiteX2" fmla="*/ 17145 w 17196"/>
                <a:gd name="connsiteY2" fmla="*/ 19965 h 32408"/>
              </a:gdLst>
              <a:ahLst/>
              <a:cxnLst>
                <a:cxn ang="0">
                  <a:pos x="connsiteX0" y="connsiteY0"/>
                </a:cxn>
                <a:cxn ang="0">
                  <a:pos x="connsiteX1" y="connsiteY1"/>
                </a:cxn>
                <a:cxn ang="0">
                  <a:pos x="connsiteX2" y="connsiteY2"/>
                </a:cxn>
              </a:cxnLst>
              <a:rect l="l" t="t" r="r" b="b"/>
              <a:pathLst>
                <a:path w="17196" h="32408">
                  <a:moveTo>
                    <a:pt x="-51" y="-30"/>
                  </a:moveTo>
                  <a:lnTo>
                    <a:pt x="-51" y="32378"/>
                  </a:lnTo>
                  <a:cubicBezTo>
                    <a:pt x="5894" y="28542"/>
                    <a:pt x="11634" y="24398"/>
                    <a:pt x="17145" y="19965"/>
                  </a:cubicBezTo>
                  <a:close/>
                </a:path>
              </a:pathLst>
            </a:custGeom>
            <a:grpFill/>
            <a:ln w="4196" cap="flat">
              <a:noFill/>
              <a:prstDash val="solid"/>
              <a:miter/>
            </a:ln>
          </p:spPr>
          <p:txBody>
            <a:bodyPr rtlCol="0" anchor="ctr"/>
            <a:lstStyle/>
            <a:p>
              <a:endParaRPr lang="en-GB">
                <a:solidFill>
                  <a:schemeClr val="tx1"/>
                </a:solidFill>
              </a:endParaRPr>
            </a:p>
          </p:txBody>
        </p:sp>
        <p:sp>
          <p:nvSpPr>
            <p:cNvPr id="31" name="Freeform 30">
              <a:extLst>
                <a:ext uri="{FF2B5EF4-FFF2-40B4-BE49-F238E27FC236}">
                  <a16:creationId xmlns:a16="http://schemas.microsoft.com/office/drawing/2014/main" id="{D5B5F3D0-B357-D862-2701-471746F21C67}"/>
                </a:ext>
              </a:extLst>
            </p:cNvPr>
            <p:cNvSpPr/>
            <p:nvPr/>
          </p:nvSpPr>
          <p:spPr>
            <a:xfrm>
              <a:off x="104267" y="6437037"/>
              <a:ext cx="329799" cy="326949"/>
            </a:xfrm>
            <a:custGeom>
              <a:avLst/>
              <a:gdLst>
                <a:gd name="connsiteX0" fmla="*/ 83367 w 329799"/>
                <a:gd name="connsiteY0" fmla="*/ -30 h 326950"/>
                <a:gd name="connsiteX1" fmla="*/ 146 w 329799"/>
                <a:gd name="connsiteY1" fmla="*/ 14466 h 326950"/>
                <a:gd name="connsiteX2" fmla="*/ 146 w 329799"/>
                <a:gd name="connsiteY2" fmla="*/ 14466 h 326950"/>
                <a:gd name="connsiteX3" fmla="*/ 146 w 329799"/>
                <a:gd name="connsiteY3" fmla="*/ 24404 h 326950"/>
                <a:gd name="connsiteX4" fmla="*/ 8468 w 329799"/>
                <a:gd name="connsiteY4" fmla="*/ 21969 h 326950"/>
                <a:gd name="connsiteX5" fmla="*/ 14503 w 329799"/>
                <a:gd name="connsiteY5" fmla="*/ 20790 h 326950"/>
                <a:gd name="connsiteX6" fmla="*/ 16632 w 329799"/>
                <a:gd name="connsiteY6" fmla="*/ 20476 h 326950"/>
                <a:gd name="connsiteX7" fmla="*/ 78871 w 329799"/>
                <a:gd name="connsiteY7" fmla="*/ 37525 h 326950"/>
                <a:gd name="connsiteX8" fmla="*/ 78871 w 329799"/>
                <a:gd name="connsiteY8" fmla="*/ 37525 h 326950"/>
                <a:gd name="connsiteX9" fmla="*/ 23811 w 329799"/>
                <a:gd name="connsiteY9" fmla="*/ 192849 h 326950"/>
                <a:gd name="connsiteX10" fmla="*/ 422 w 329799"/>
                <a:gd name="connsiteY10" fmla="*/ 210840 h 326950"/>
                <a:gd name="connsiteX11" fmla="*/ -51 w 329799"/>
                <a:gd name="connsiteY11" fmla="*/ 211154 h 326950"/>
                <a:gd name="connsiteX12" fmla="*/ -51 w 329799"/>
                <a:gd name="connsiteY12" fmla="*/ 227653 h 326950"/>
                <a:gd name="connsiteX13" fmla="*/ 6969 w 329799"/>
                <a:gd name="connsiteY13" fmla="*/ 222664 h 326950"/>
                <a:gd name="connsiteX14" fmla="*/ 32291 w 329799"/>
                <a:gd name="connsiteY14" fmla="*/ 263204 h 326950"/>
                <a:gd name="connsiteX15" fmla="*/ 44123 w 329799"/>
                <a:gd name="connsiteY15" fmla="*/ 255348 h 326950"/>
                <a:gd name="connsiteX16" fmla="*/ 65658 w 329799"/>
                <a:gd name="connsiteY16" fmla="*/ 239438 h 326950"/>
                <a:gd name="connsiteX17" fmla="*/ 66604 w 329799"/>
                <a:gd name="connsiteY17" fmla="*/ 238613 h 326950"/>
                <a:gd name="connsiteX18" fmla="*/ 33474 w 329799"/>
                <a:gd name="connsiteY18" fmla="*/ 200705 h 326950"/>
                <a:gd name="connsiteX19" fmla="*/ 57139 w 329799"/>
                <a:gd name="connsiteY19" fmla="*/ 175761 h 326950"/>
                <a:gd name="connsiteX20" fmla="*/ 97842 w 329799"/>
                <a:gd name="connsiteY20" fmla="*/ 208522 h 326950"/>
                <a:gd name="connsiteX21" fmla="*/ 121507 w 329799"/>
                <a:gd name="connsiteY21" fmla="*/ 179218 h 326950"/>
                <a:gd name="connsiteX22" fmla="*/ 74729 w 329799"/>
                <a:gd name="connsiteY22" fmla="*/ 151327 h 326950"/>
                <a:gd name="connsiteX23" fmla="*/ 88179 w 329799"/>
                <a:gd name="connsiteY23" fmla="*/ 126539 h 326950"/>
                <a:gd name="connsiteX24" fmla="*/ 140044 w 329799"/>
                <a:gd name="connsiteY24" fmla="*/ 148263 h 326950"/>
                <a:gd name="connsiteX25" fmla="*/ 150023 w 329799"/>
                <a:gd name="connsiteY25" fmla="*/ 124300 h 326950"/>
                <a:gd name="connsiteX26" fmla="*/ 151166 w 329799"/>
                <a:gd name="connsiteY26" fmla="*/ 120804 h 326950"/>
                <a:gd name="connsiteX27" fmla="*/ 96028 w 329799"/>
                <a:gd name="connsiteY27" fmla="*/ 104737 h 326950"/>
                <a:gd name="connsiteX28" fmla="*/ 99972 w 329799"/>
                <a:gd name="connsiteY28" fmla="*/ 83878 h 326950"/>
                <a:gd name="connsiteX29" fmla="*/ 156767 w 329799"/>
                <a:gd name="connsiteY29" fmla="*/ 94013 h 326950"/>
                <a:gd name="connsiteX30" fmla="*/ 156452 w 329799"/>
                <a:gd name="connsiteY30" fmla="*/ 72015 h 326950"/>
                <a:gd name="connsiteX31" fmla="*/ 99656 w 329799"/>
                <a:gd name="connsiteY31" fmla="*/ 66594 h 326950"/>
                <a:gd name="connsiteX32" fmla="*/ 95712 w 329799"/>
                <a:gd name="connsiteY32" fmla="*/ 51470 h 326950"/>
                <a:gd name="connsiteX33" fmla="*/ 150299 w 329799"/>
                <a:gd name="connsiteY33" fmla="*/ 52373 h 326950"/>
                <a:gd name="connsiteX34" fmla="*/ 145329 w 329799"/>
                <a:gd name="connsiteY34" fmla="*/ 43574 h 326950"/>
                <a:gd name="connsiteX35" fmla="*/ 140675 w 329799"/>
                <a:gd name="connsiteY35" fmla="*/ 37603 h 326950"/>
                <a:gd name="connsiteX36" fmla="*/ 89756 w 329799"/>
                <a:gd name="connsiteY36" fmla="*/ 39921 h 326950"/>
                <a:gd name="connsiteX37" fmla="*/ 81316 w 329799"/>
                <a:gd name="connsiteY37" fmla="*/ 30493 h 326950"/>
                <a:gd name="connsiteX38" fmla="*/ 127462 w 329799"/>
                <a:gd name="connsiteY38" fmla="*/ 25700 h 326950"/>
                <a:gd name="connsiteX39" fmla="*/ 113461 w 329799"/>
                <a:gd name="connsiteY39" fmla="*/ 17844 h 326950"/>
                <a:gd name="connsiteX40" fmla="*/ 72166 w 329799"/>
                <a:gd name="connsiteY40" fmla="*/ 23933 h 326950"/>
                <a:gd name="connsiteX41" fmla="*/ 61832 w 329799"/>
                <a:gd name="connsiteY41" fmla="*/ 19219 h 326950"/>
                <a:gd name="connsiteX42" fmla="*/ 89204 w 329799"/>
                <a:gd name="connsiteY42" fmla="*/ 13091 h 326950"/>
                <a:gd name="connsiteX43" fmla="*/ 89204 w 329799"/>
                <a:gd name="connsiteY43" fmla="*/ 13091 h 326950"/>
                <a:gd name="connsiteX44" fmla="*/ 51538 w 329799"/>
                <a:gd name="connsiteY44" fmla="*/ 16351 h 326950"/>
                <a:gd name="connsiteX45" fmla="*/ 40652 w 329799"/>
                <a:gd name="connsiteY45" fmla="*/ 14819 h 326950"/>
                <a:gd name="connsiteX46" fmla="*/ 66249 w 329799"/>
                <a:gd name="connsiteY46" fmla="*/ 9594 h 326950"/>
                <a:gd name="connsiteX47" fmla="*/ 152429 w 329799"/>
                <a:gd name="connsiteY47" fmla="*/ 40392 h 326950"/>
                <a:gd name="connsiteX48" fmla="*/ 152429 w 329799"/>
                <a:gd name="connsiteY48" fmla="*/ 40392 h 326950"/>
                <a:gd name="connsiteX49" fmla="*/ 133023 w 329799"/>
                <a:gd name="connsiteY49" fmla="*/ 186131 h 326950"/>
                <a:gd name="connsiteX50" fmla="*/ 98552 w 329799"/>
                <a:gd name="connsiteY50" fmla="*/ 228360 h 326950"/>
                <a:gd name="connsiteX51" fmla="*/ 65224 w 329799"/>
                <a:gd name="connsiteY51" fmla="*/ 258490 h 326950"/>
                <a:gd name="connsiteX52" fmla="*/ 11584 w 329799"/>
                <a:gd name="connsiteY52" fmla="*/ 292705 h 326950"/>
                <a:gd name="connsiteX53" fmla="*/ 28 w 329799"/>
                <a:gd name="connsiteY53" fmla="*/ 298480 h 326950"/>
                <a:gd name="connsiteX54" fmla="*/ 28 w 329799"/>
                <a:gd name="connsiteY54" fmla="*/ 315961 h 326950"/>
                <a:gd name="connsiteX55" fmla="*/ 49724 w 329799"/>
                <a:gd name="connsiteY55" fmla="*/ 287245 h 326950"/>
                <a:gd name="connsiteX56" fmla="*/ 75991 w 329799"/>
                <a:gd name="connsiteY56" fmla="*/ 324407 h 326950"/>
                <a:gd name="connsiteX57" fmla="*/ 116695 w 329799"/>
                <a:gd name="connsiteY57" fmla="*/ 294984 h 326950"/>
                <a:gd name="connsiteX58" fmla="*/ 85142 w 329799"/>
                <a:gd name="connsiteY58" fmla="*/ 259629 h 326950"/>
                <a:gd name="connsiteX59" fmla="*/ 117996 w 329799"/>
                <a:gd name="connsiteY59" fmla="*/ 226514 h 326950"/>
                <a:gd name="connsiteX60" fmla="*/ 154243 w 329799"/>
                <a:gd name="connsiteY60" fmla="*/ 258804 h 326950"/>
                <a:gd name="connsiteX61" fmla="*/ 182562 w 329799"/>
                <a:gd name="connsiteY61" fmla="*/ 222154 h 326950"/>
                <a:gd name="connsiteX62" fmla="*/ 143120 w 329799"/>
                <a:gd name="connsiteY62" fmla="*/ 193320 h 326950"/>
                <a:gd name="connsiteX63" fmla="*/ 161855 w 329799"/>
                <a:gd name="connsiteY63" fmla="*/ 159183 h 326950"/>
                <a:gd name="connsiteX64" fmla="*/ 203781 w 329799"/>
                <a:gd name="connsiteY64" fmla="*/ 184089 h 326950"/>
                <a:gd name="connsiteX65" fmla="*/ 215811 w 329799"/>
                <a:gd name="connsiteY65" fmla="*/ 149638 h 326950"/>
                <a:gd name="connsiteX66" fmla="*/ 172701 w 329799"/>
                <a:gd name="connsiteY66" fmla="*/ 128386 h 326950"/>
                <a:gd name="connsiteX67" fmla="*/ 177198 w 329799"/>
                <a:gd name="connsiteY67" fmla="*/ 99277 h 326950"/>
                <a:gd name="connsiteX68" fmla="*/ 220583 w 329799"/>
                <a:gd name="connsiteY68" fmla="*/ 116994 h 326950"/>
                <a:gd name="connsiteX69" fmla="*/ 218729 w 329799"/>
                <a:gd name="connsiteY69" fmla="*/ 90124 h 326950"/>
                <a:gd name="connsiteX70" fmla="*/ 175738 w 329799"/>
                <a:gd name="connsiteY70" fmla="*/ 75315 h 326950"/>
                <a:gd name="connsiteX71" fmla="*/ 169349 w 329799"/>
                <a:gd name="connsiteY71" fmla="*/ 54259 h 326950"/>
                <a:gd name="connsiteX72" fmla="*/ 211393 w 329799"/>
                <a:gd name="connsiteY72" fmla="*/ 66397 h 326950"/>
                <a:gd name="connsiteX73" fmla="*/ 200547 w 329799"/>
                <a:gd name="connsiteY73" fmla="*/ 49270 h 326950"/>
                <a:gd name="connsiteX74" fmla="*/ 159134 w 329799"/>
                <a:gd name="connsiteY74" fmla="*/ 37132 h 326950"/>
                <a:gd name="connsiteX75" fmla="*/ 148721 w 329799"/>
                <a:gd name="connsiteY75" fmla="*/ 26172 h 326950"/>
                <a:gd name="connsiteX76" fmla="*/ 171873 w 329799"/>
                <a:gd name="connsiteY76" fmla="*/ 30611 h 326950"/>
                <a:gd name="connsiteX77" fmla="*/ 138664 w 329799"/>
                <a:gd name="connsiteY77" fmla="*/ 18630 h 326950"/>
                <a:gd name="connsiteX78" fmla="*/ 131051 w 329799"/>
                <a:gd name="connsiteY78" fmla="*/ 14151 h 326950"/>
                <a:gd name="connsiteX79" fmla="*/ 198101 w 329799"/>
                <a:gd name="connsiteY79" fmla="*/ 40706 h 326950"/>
                <a:gd name="connsiteX80" fmla="*/ 204373 w 329799"/>
                <a:gd name="connsiteY80" fmla="*/ 46088 h 326950"/>
                <a:gd name="connsiteX81" fmla="*/ 210644 w 329799"/>
                <a:gd name="connsiteY81" fmla="*/ 53395 h 326950"/>
                <a:gd name="connsiteX82" fmla="*/ 210644 w 329799"/>
                <a:gd name="connsiteY82" fmla="*/ 53395 h 326950"/>
                <a:gd name="connsiteX83" fmla="*/ 102575 w 329799"/>
                <a:gd name="connsiteY83" fmla="*/ 326881 h 326950"/>
                <a:gd name="connsiteX84" fmla="*/ 144856 w 329799"/>
                <a:gd name="connsiteY84" fmla="*/ 326881 h 326950"/>
                <a:gd name="connsiteX85" fmla="*/ 136218 w 329799"/>
                <a:gd name="connsiteY85" fmla="*/ 317336 h 326950"/>
                <a:gd name="connsiteX86" fmla="*/ 173727 w 329799"/>
                <a:gd name="connsiteY86" fmla="*/ 277503 h 326950"/>
                <a:gd name="connsiteX87" fmla="*/ 202046 w 329799"/>
                <a:gd name="connsiteY87" fmla="*/ 305590 h 326950"/>
                <a:gd name="connsiteX88" fmla="*/ 232534 w 329799"/>
                <a:gd name="connsiteY88" fmla="*/ 265443 h 326950"/>
                <a:gd name="connsiteX89" fmla="*/ 201809 w 329799"/>
                <a:gd name="connsiteY89" fmla="*/ 237513 h 326950"/>
                <a:gd name="connsiteX90" fmla="*/ 222358 w 329799"/>
                <a:gd name="connsiteY90" fmla="*/ 196777 h 326950"/>
                <a:gd name="connsiteX91" fmla="*/ 254818 w 329799"/>
                <a:gd name="connsiteY91" fmla="*/ 223725 h 326950"/>
                <a:gd name="connsiteX92" fmla="*/ 267202 w 329799"/>
                <a:gd name="connsiteY92" fmla="*/ 185856 h 326950"/>
                <a:gd name="connsiteX93" fmla="*/ 233796 w 329799"/>
                <a:gd name="connsiteY93" fmla="*/ 160244 h 326950"/>
                <a:gd name="connsiteX94" fmla="*/ 238253 w 329799"/>
                <a:gd name="connsiteY94" fmla="*/ 125832 h 326950"/>
                <a:gd name="connsiteX95" fmla="*/ 271541 w 329799"/>
                <a:gd name="connsiteY95" fmla="*/ 149638 h 326950"/>
                <a:gd name="connsiteX96" fmla="*/ 268701 w 329799"/>
                <a:gd name="connsiteY96" fmla="*/ 119783 h 326950"/>
                <a:gd name="connsiteX97" fmla="*/ 236280 w 329799"/>
                <a:gd name="connsiteY97" fmla="*/ 97666 h 326950"/>
                <a:gd name="connsiteX98" fmla="*/ 229181 w 329799"/>
                <a:gd name="connsiteY98" fmla="*/ 73154 h 326950"/>
                <a:gd name="connsiteX99" fmla="*/ 229181 w 329799"/>
                <a:gd name="connsiteY99" fmla="*/ 73154 h 326950"/>
                <a:gd name="connsiteX100" fmla="*/ 252846 w 329799"/>
                <a:gd name="connsiteY100" fmla="*/ 88003 h 326950"/>
                <a:gd name="connsiteX101" fmla="*/ 222318 w 329799"/>
                <a:gd name="connsiteY101" fmla="*/ 59248 h 326950"/>
                <a:gd name="connsiteX102" fmla="*/ 216008 w 329799"/>
                <a:gd name="connsiteY102" fmla="*/ 50056 h 326950"/>
                <a:gd name="connsiteX103" fmla="*/ 259117 w 329799"/>
                <a:gd name="connsiteY103" fmla="*/ 87728 h 326950"/>
                <a:gd name="connsiteX104" fmla="*/ 271541 w 329799"/>
                <a:gd name="connsiteY104" fmla="*/ 110041 h 326950"/>
                <a:gd name="connsiteX105" fmla="*/ 273947 w 329799"/>
                <a:gd name="connsiteY105" fmla="*/ 117072 h 326950"/>
                <a:gd name="connsiteX106" fmla="*/ 266059 w 329799"/>
                <a:gd name="connsiteY106" fmla="*/ 224628 h 326950"/>
                <a:gd name="connsiteX107" fmla="*/ 202953 w 329799"/>
                <a:gd name="connsiteY107" fmla="*/ 326764 h 326950"/>
                <a:gd name="connsiteX108" fmla="*/ 253240 w 329799"/>
                <a:gd name="connsiteY108" fmla="*/ 326764 h 326950"/>
                <a:gd name="connsiteX109" fmla="*/ 267005 w 329799"/>
                <a:gd name="connsiteY109" fmla="*/ 305747 h 326950"/>
                <a:gd name="connsiteX110" fmla="*/ 248310 w 329799"/>
                <a:gd name="connsiteY110" fmla="*/ 282806 h 326950"/>
                <a:gd name="connsiteX111" fmla="*/ 270358 w 329799"/>
                <a:gd name="connsiteY111" fmla="*/ 239595 h 326950"/>
                <a:gd name="connsiteX112" fmla="*/ 288658 w 329799"/>
                <a:gd name="connsiteY112" fmla="*/ 262536 h 326950"/>
                <a:gd name="connsiteX113" fmla="*/ 300215 w 329799"/>
                <a:gd name="connsiteY113" fmla="*/ 224118 h 326950"/>
                <a:gd name="connsiteX114" fmla="*/ 282703 w 329799"/>
                <a:gd name="connsiteY114" fmla="*/ 201177 h 326950"/>
                <a:gd name="connsiteX115" fmla="*/ 287317 w 329799"/>
                <a:gd name="connsiteY115" fmla="*/ 164644 h 326950"/>
                <a:gd name="connsiteX116" fmla="*/ 301516 w 329799"/>
                <a:gd name="connsiteY116" fmla="*/ 183224 h 326950"/>
                <a:gd name="connsiteX117" fmla="*/ 301516 w 329799"/>
                <a:gd name="connsiteY117" fmla="*/ 183224 h 326950"/>
                <a:gd name="connsiteX118" fmla="*/ 285740 w 329799"/>
                <a:gd name="connsiteY118" fmla="*/ 136360 h 326950"/>
                <a:gd name="connsiteX119" fmla="*/ 285503 w 329799"/>
                <a:gd name="connsiteY119" fmla="*/ 134985 h 326950"/>
                <a:gd name="connsiteX120" fmla="*/ 280021 w 329799"/>
                <a:gd name="connsiteY120" fmla="*/ 114283 h 326950"/>
                <a:gd name="connsiteX121" fmla="*/ 301398 w 329799"/>
                <a:gd name="connsiteY121" fmla="*/ 154862 h 326950"/>
                <a:gd name="connsiteX122" fmla="*/ 309957 w 329799"/>
                <a:gd name="connsiteY122" fmla="*/ 205144 h 326950"/>
                <a:gd name="connsiteX123" fmla="*/ 267755 w 329799"/>
                <a:gd name="connsiteY123" fmla="*/ 326921 h 326950"/>
                <a:gd name="connsiteX124" fmla="*/ 280415 w 329799"/>
                <a:gd name="connsiteY124" fmla="*/ 326921 h 326950"/>
                <a:gd name="connsiteX125" fmla="*/ 301674 w 329799"/>
                <a:gd name="connsiteY125" fmla="*/ 281038 h 326950"/>
                <a:gd name="connsiteX126" fmla="*/ 306683 w 329799"/>
                <a:gd name="connsiteY126" fmla="*/ 296359 h 326950"/>
                <a:gd name="connsiteX127" fmla="*/ 315715 w 329799"/>
                <a:gd name="connsiteY127" fmla="*/ 249573 h 326950"/>
                <a:gd name="connsiteX128" fmla="*/ 313388 w 329799"/>
                <a:gd name="connsiteY128" fmla="*/ 242031 h 326950"/>
                <a:gd name="connsiteX129" fmla="*/ 317332 w 329799"/>
                <a:gd name="connsiteY129" fmla="*/ 212765 h 326950"/>
                <a:gd name="connsiteX130" fmla="*/ 319580 w 329799"/>
                <a:gd name="connsiteY130" fmla="*/ 245330 h 326950"/>
                <a:gd name="connsiteX131" fmla="*/ 312954 w 329799"/>
                <a:gd name="connsiteY131" fmla="*/ 301112 h 326950"/>
                <a:gd name="connsiteX132" fmla="*/ 305066 w 329799"/>
                <a:gd name="connsiteY132" fmla="*/ 326921 h 326950"/>
                <a:gd name="connsiteX133" fmla="*/ 315952 w 329799"/>
                <a:gd name="connsiteY133" fmla="*/ 326921 h 326950"/>
                <a:gd name="connsiteX134" fmla="*/ 163831 w 329799"/>
                <a:gd name="connsiteY134" fmla="*/ 13643 h 326950"/>
                <a:gd name="connsiteX135" fmla="*/ 83367 w 329799"/>
                <a:gd name="connsiteY135" fmla="*/ -30 h 32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29799" h="326950">
                  <a:moveTo>
                    <a:pt x="83367" y="-30"/>
                  </a:moveTo>
                  <a:cubicBezTo>
                    <a:pt x="54991" y="-57"/>
                    <a:pt x="26828" y="4848"/>
                    <a:pt x="146" y="14466"/>
                  </a:cubicBezTo>
                  <a:lnTo>
                    <a:pt x="146" y="14466"/>
                  </a:lnTo>
                  <a:lnTo>
                    <a:pt x="146" y="24404"/>
                  </a:lnTo>
                  <a:cubicBezTo>
                    <a:pt x="2867" y="23423"/>
                    <a:pt x="5647" y="22610"/>
                    <a:pt x="8468" y="21969"/>
                  </a:cubicBezTo>
                  <a:cubicBezTo>
                    <a:pt x="10493" y="21523"/>
                    <a:pt x="12504" y="21131"/>
                    <a:pt x="14503" y="20790"/>
                  </a:cubicBezTo>
                  <a:lnTo>
                    <a:pt x="16632" y="20476"/>
                  </a:lnTo>
                  <a:cubicBezTo>
                    <a:pt x="42821" y="16548"/>
                    <a:pt x="65342" y="22047"/>
                    <a:pt x="78871" y="37525"/>
                  </a:cubicBezTo>
                  <a:lnTo>
                    <a:pt x="78871" y="37525"/>
                  </a:lnTo>
                  <a:cubicBezTo>
                    <a:pt x="108215" y="71465"/>
                    <a:pt x="83683" y="140956"/>
                    <a:pt x="23811" y="192849"/>
                  </a:cubicBezTo>
                  <a:cubicBezTo>
                    <a:pt x="16386" y="199310"/>
                    <a:pt x="8575" y="205318"/>
                    <a:pt x="422" y="210840"/>
                  </a:cubicBezTo>
                  <a:cubicBezTo>
                    <a:pt x="281" y="210967"/>
                    <a:pt x="121" y="211073"/>
                    <a:pt x="-51" y="211154"/>
                  </a:cubicBezTo>
                  <a:lnTo>
                    <a:pt x="-51" y="227653"/>
                  </a:lnTo>
                  <a:cubicBezTo>
                    <a:pt x="2315" y="226043"/>
                    <a:pt x="4682" y="224393"/>
                    <a:pt x="6969" y="222664"/>
                  </a:cubicBezTo>
                  <a:cubicBezTo>
                    <a:pt x="10243" y="228164"/>
                    <a:pt x="31896" y="262615"/>
                    <a:pt x="32291" y="263204"/>
                  </a:cubicBezTo>
                  <a:cubicBezTo>
                    <a:pt x="33908" y="262183"/>
                    <a:pt x="38562" y="259276"/>
                    <a:pt x="44123" y="255348"/>
                  </a:cubicBezTo>
                  <a:cubicBezTo>
                    <a:pt x="50670" y="250909"/>
                    <a:pt x="58558" y="245370"/>
                    <a:pt x="65658" y="239438"/>
                  </a:cubicBezTo>
                  <a:lnTo>
                    <a:pt x="66604" y="238613"/>
                  </a:lnTo>
                  <a:lnTo>
                    <a:pt x="33474" y="200705"/>
                  </a:lnTo>
                  <a:cubicBezTo>
                    <a:pt x="36826" y="197405"/>
                    <a:pt x="48028" y="186328"/>
                    <a:pt x="57139" y="175761"/>
                  </a:cubicBezTo>
                  <a:cubicBezTo>
                    <a:pt x="59229" y="177371"/>
                    <a:pt x="86798" y="198662"/>
                    <a:pt x="97842" y="208522"/>
                  </a:cubicBezTo>
                  <a:cubicBezTo>
                    <a:pt x="106363" y="199278"/>
                    <a:pt x="114268" y="189489"/>
                    <a:pt x="121507" y="179218"/>
                  </a:cubicBezTo>
                  <a:cubicBezTo>
                    <a:pt x="106322" y="169279"/>
                    <a:pt x="74729" y="151327"/>
                    <a:pt x="74729" y="151327"/>
                  </a:cubicBezTo>
                  <a:cubicBezTo>
                    <a:pt x="79801" y="143395"/>
                    <a:pt x="84296" y="135111"/>
                    <a:pt x="88179" y="126539"/>
                  </a:cubicBezTo>
                  <a:cubicBezTo>
                    <a:pt x="88179" y="126539"/>
                    <a:pt x="125017" y="140878"/>
                    <a:pt x="140044" y="148263"/>
                  </a:cubicBezTo>
                  <a:cubicBezTo>
                    <a:pt x="143921" y="140514"/>
                    <a:pt x="147256" y="132508"/>
                    <a:pt x="150023" y="124300"/>
                  </a:cubicBezTo>
                  <a:cubicBezTo>
                    <a:pt x="150417" y="123122"/>
                    <a:pt x="150811" y="121983"/>
                    <a:pt x="151166" y="120804"/>
                  </a:cubicBezTo>
                  <a:cubicBezTo>
                    <a:pt x="133124" y="114360"/>
                    <a:pt x="114712" y="108995"/>
                    <a:pt x="96028" y="104737"/>
                  </a:cubicBezTo>
                  <a:cubicBezTo>
                    <a:pt x="97991" y="97922"/>
                    <a:pt x="99311" y="90939"/>
                    <a:pt x="99972" y="83878"/>
                  </a:cubicBezTo>
                  <a:cubicBezTo>
                    <a:pt x="119122" y="85902"/>
                    <a:pt x="138102" y="89290"/>
                    <a:pt x="156767" y="94013"/>
                  </a:cubicBezTo>
                  <a:cubicBezTo>
                    <a:pt x="157517" y="86693"/>
                    <a:pt x="157412" y="79311"/>
                    <a:pt x="156452" y="72015"/>
                  </a:cubicBezTo>
                  <a:cubicBezTo>
                    <a:pt x="137710" y="68593"/>
                    <a:pt x="118709" y="66780"/>
                    <a:pt x="99656" y="66594"/>
                  </a:cubicBezTo>
                  <a:cubicBezTo>
                    <a:pt x="98960" y="61412"/>
                    <a:pt x="97636" y="56334"/>
                    <a:pt x="95712" y="51470"/>
                  </a:cubicBezTo>
                  <a:cubicBezTo>
                    <a:pt x="113898" y="50130"/>
                    <a:pt x="132168" y="50432"/>
                    <a:pt x="150299" y="52373"/>
                  </a:cubicBezTo>
                  <a:cubicBezTo>
                    <a:pt x="148826" y="49341"/>
                    <a:pt x="147167" y="46402"/>
                    <a:pt x="145329" y="43574"/>
                  </a:cubicBezTo>
                  <a:cubicBezTo>
                    <a:pt x="143870" y="41492"/>
                    <a:pt x="140675" y="37603"/>
                    <a:pt x="140675" y="37603"/>
                  </a:cubicBezTo>
                  <a:cubicBezTo>
                    <a:pt x="123667" y="36679"/>
                    <a:pt x="106609" y="37456"/>
                    <a:pt x="89756" y="39921"/>
                  </a:cubicBezTo>
                  <a:cubicBezTo>
                    <a:pt x="87325" y="36458"/>
                    <a:pt x="84492" y="33294"/>
                    <a:pt x="81316" y="30493"/>
                  </a:cubicBezTo>
                  <a:cubicBezTo>
                    <a:pt x="96490" y="27307"/>
                    <a:pt x="111955" y="25701"/>
                    <a:pt x="127462" y="25700"/>
                  </a:cubicBezTo>
                  <a:cubicBezTo>
                    <a:pt x="123021" y="22701"/>
                    <a:pt x="118338" y="20073"/>
                    <a:pt x="113461" y="17844"/>
                  </a:cubicBezTo>
                  <a:cubicBezTo>
                    <a:pt x="99517" y="18398"/>
                    <a:pt x="85673" y="20440"/>
                    <a:pt x="72166" y="23933"/>
                  </a:cubicBezTo>
                  <a:cubicBezTo>
                    <a:pt x="68900" y="22000"/>
                    <a:pt x="65435" y="20419"/>
                    <a:pt x="61832" y="19219"/>
                  </a:cubicBezTo>
                  <a:cubicBezTo>
                    <a:pt x="70782" y="16472"/>
                    <a:pt x="79934" y="14423"/>
                    <a:pt x="89204" y="13091"/>
                  </a:cubicBezTo>
                  <a:lnTo>
                    <a:pt x="89204" y="13091"/>
                  </a:lnTo>
                  <a:cubicBezTo>
                    <a:pt x="74335" y="11166"/>
                    <a:pt x="53707" y="15801"/>
                    <a:pt x="51538" y="16351"/>
                  </a:cubicBezTo>
                  <a:cubicBezTo>
                    <a:pt x="48343" y="15683"/>
                    <a:pt x="43926" y="15133"/>
                    <a:pt x="40652" y="14819"/>
                  </a:cubicBezTo>
                  <a:cubicBezTo>
                    <a:pt x="49065" y="12538"/>
                    <a:pt x="57614" y="10793"/>
                    <a:pt x="66249" y="9594"/>
                  </a:cubicBezTo>
                  <a:cubicBezTo>
                    <a:pt x="79541" y="7748"/>
                    <a:pt x="123991" y="2288"/>
                    <a:pt x="152429" y="40392"/>
                  </a:cubicBezTo>
                  <a:lnTo>
                    <a:pt x="152429" y="40392"/>
                  </a:lnTo>
                  <a:cubicBezTo>
                    <a:pt x="179327" y="76454"/>
                    <a:pt x="169546" y="132432"/>
                    <a:pt x="133023" y="186131"/>
                  </a:cubicBezTo>
                  <a:cubicBezTo>
                    <a:pt x="122866" y="201237"/>
                    <a:pt x="111326" y="215373"/>
                    <a:pt x="98552" y="228360"/>
                  </a:cubicBezTo>
                  <a:cubicBezTo>
                    <a:pt x="88112" y="239115"/>
                    <a:pt x="76979" y="249179"/>
                    <a:pt x="65224" y="258490"/>
                  </a:cubicBezTo>
                  <a:cubicBezTo>
                    <a:pt x="48637" y="271791"/>
                    <a:pt x="30652" y="283262"/>
                    <a:pt x="11584" y="292705"/>
                  </a:cubicBezTo>
                  <a:cubicBezTo>
                    <a:pt x="7640" y="294709"/>
                    <a:pt x="3696" y="296634"/>
                    <a:pt x="28" y="298480"/>
                  </a:cubicBezTo>
                  <a:lnTo>
                    <a:pt x="28" y="315961"/>
                  </a:lnTo>
                  <a:cubicBezTo>
                    <a:pt x="17466" y="307971"/>
                    <a:pt x="34105" y="298358"/>
                    <a:pt x="49724" y="287245"/>
                  </a:cubicBezTo>
                  <a:lnTo>
                    <a:pt x="75991" y="324407"/>
                  </a:lnTo>
                  <a:cubicBezTo>
                    <a:pt x="90115" y="315383"/>
                    <a:pt x="103705" y="305563"/>
                    <a:pt x="116695" y="294984"/>
                  </a:cubicBezTo>
                  <a:lnTo>
                    <a:pt x="85142" y="259629"/>
                  </a:lnTo>
                  <a:cubicBezTo>
                    <a:pt x="96818" y="249328"/>
                    <a:pt x="107793" y="238265"/>
                    <a:pt x="117996" y="226514"/>
                  </a:cubicBezTo>
                  <a:cubicBezTo>
                    <a:pt x="117996" y="226514"/>
                    <a:pt x="150654" y="255387"/>
                    <a:pt x="154243" y="258804"/>
                  </a:cubicBezTo>
                  <a:cubicBezTo>
                    <a:pt x="164532" y="247263"/>
                    <a:pt x="173995" y="235016"/>
                    <a:pt x="182562" y="222154"/>
                  </a:cubicBezTo>
                  <a:cubicBezTo>
                    <a:pt x="165523" y="208719"/>
                    <a:pt x="143357" y="193556"/>
                    <a:pt x="143120" y="193320"/>
                  </a:cubicBezTo>
                  <a:cubicBezTo>
                    <a:pt x="150069" y="182339"/>
                    <a:pt x="156326" y="170938"/>
                    <a:pt x="161855" y="159183"/>
                  </a:cubicBezTo>
                  <a:cubicBezTo>
                    <a:pt x="161855" y="159183"/>
                    <a:pt x="183429" y="170968"/>
                    <a:pt x="203781" y="184089"/>
                  </a:cubicBezTo>
                  <a:cubicBezTo>
                    <a:pt x="208786" y="172975"/>
                    <a:pt x="212813" y="161448"/>
                    <a:pt x="215811" y="149638"/>
                  </a:cubicBezTo>
                  <a:cubicBezTo>
                    <a:pt x="202440" y="141781"/>
                    <a:pt x="172701" y="128386"/>
                    <a:pt x="172701" y="128386"/>
                  </a:cubicBezTo>
                  <a:cubicBezTo>
                    <a:pt x="175176" y="118858"/>
                    <a:pt x="176682" y="109106"/>
                    <a:pt x="177198" y="99277"/>
                  </a:cubicBezTo>
                  <a:cubicBezTo>
                    <a:pt x="192053" y="104177"/>
                    <a:pt x="206550" y="110097"/>
                    <a:pt x="220583" y="116994"/>
                  </a:cubicBezTo>
                  <a:cubicBezTo>
                    <a:pt x="220922" y="107997"/>
                    <a:pt x="220303" y="98990"/>
                    <a:pt x="218729" y="90124"/>
                  </a:cubicBezTo>
                  <a:cubicBezTo>
                    <a:pt x="204862" y="83943"/>
                    <a:pt x="190476" y="78988"/>
                    <a:pt x="175738" y="75315"/>
                  </a:cubicBezTo>
                  <a:cubicBezTo>
                    <a:pt x="174477" y="68063"/>
                    <a:pt x="172332" y="60992"/>
                    <a:pt x="169349" y="54259"/>
                  </a:cubicBezTo>
                  <a:cubicBezTo>
                    <a:pt x="183690" y="57087"/>
                    <a:pt x="197758" y="61148"/>
                    <a:pt x="211393" y="66397"/>
                  </a:cubicBezTo>
                  <a:cubicBezTo>
                    <a:pt x="208691" y="60163"/>
                    <a:pt x="205031" y="54385"/>
                    <a:pt x="200547" y="49270"/>
                  </a:cubicBezTo>
                  <a:cubicBezTo>
                    <a:pt x="187926" y="42356"/>
                    <a:pt x="159134" y="37132"/>
                    <a:pt x="159134" y="37132"/>
                  </a:cubicBezTo>
                  <a:cubicBezTo>
                    <a:pt x="156004" y="33171"/>
                    <a:pt x="152518" y="29503"/>
                    <a:pt x="148721" y="26172"/>
                  </a:cubicBezTo>
                  <a:cubicBezTo>
                    <a:pt x="157753" y="27429"/>
                    <a:pt x="171873" y="30611"/>
                    <a:pt x="171873" y="30611"/>
                  </a:cubicBezTo>
                  <a:cubicBezTo>
                    <a:pt x="161201" y="25599"/>
                    <a:pt x="150083" y="21588"/>
                    <a:pt x="138664" y="18630"/>
                  </a:cubicBezTo>
                  <a:cubicBezTo>
                    <a:pt x="138664" y="18630"/>
                    <a:pt x="135193" y="16351"/>
                    <a:pt x="131051" y="14151"/>
                  </a:cubicBezTo>
                  <a:cubicBezTo>
                    <a:pt x="131051" y="14151"/>
                    <a:pt x="174437" y="23029"/>
                    <a:pt x="198101" y="40706"/>
                  </a:cubicBezTo>
                  <a:cubicBezTo>
                    <a:pt x="200294" y="42378"/>
                    <a:pt x="202389" y="44175"/>
                    <a:pt x="204373" y="46088"/>
                  </a:cubicBezTo>
                  <a:cubicBezTo>
                    <a:pt x="206676" y="48333"/>
                    <a:pt x="208774" y="50779"/>
                    <a:pt x="210644" y="53395"/>
                  </a:cubicBezTo>
                  <a:lnTo>
                    <a:pt x="210644" y="53395"/>
                  </a:lnTo>
                  <a:cubicBezTo>
                    <a:pt x="257579" y="117386"/>
                    <a:pt x="216994" y="240656"/>
                    <a:pt x="102575" y="326881"/>
                  </a:cubicBezTo>
                  <a:lnTo>
                    <a:pt x="144856" y="326881"/>
                  </a:lnTo>
                  <a:lnTo>
                    <a:pt x="136218" y="317336"/>
                  </a:lnTo>
                  <a:cubicBezTo>
                    <a:pt x="149670" y="304977"/>
                    <a:pt x="162206" y="291664"/>
                    <a:pt x="173727" y="277503"/>
                  </a:cubicBezTo>
                  <a:lnTo>
                    <a:pt x="202046" y="305590"/>
                  </a:lnTo>
                  <a:cubicBezTo>
                    <a:pt x="213223" y="293004"/>
                    <a:pt x="223419" y="279581"/>
                    <a:pt x="232534" y="265443"/>
                  </a:cubicBezTo>
                  <a:cubicBezTo>
                    <a:pt x="232534" y="265443"/>
                    <a:pt x="217625" y="251223"/>
                    <a:pt x="201809" y="237513"/>
                  </a:cubicBezTo>
                  <a:cubicBezTo>
                    <a:pt x="209780" y="224524"/>
                    <a:pt x="216651" y="210899"/>
                    <a:pt x="222358" y="196777"/>
                  </a:cubicBezTo>
                  <a:cubicBezTo>
                    <a:pt x="233642" y="205188"/>
                    <a:pt x="244480" y="214183"/>
                    <a:pt x="254818" y="223725"/>
                  </a:cubicBezTo>
                  <a:cubicBezTo>
                    <a:pt x="260060" y="211491"/>
                    <a:pt x="264205" y="198819"/>
                    <a:pt x="267202" y="185856"/>
                  </a:cubicBezTo>
                  <a:cubicBezTo>
                    <a:pt x="256743" y="176481"/>
                    <a:pt x="245573" y="167918"/>
                    <a:pt x="233796" y="160244"/>
                  </a:cubicBezTo>
                  <a:cubicBezTo>
                    <a:pt x="236375" y="148940"/>
                    <a:pt x="237866" y="137417"/>
                    <a:pt x="238253" y="125832"/>
                  </a:cubicBezTo>
                  <a:cubicBezTo>
                    <a:pt x="249971" y="132867"/>
                    <a:pt x="261101" y="140827"/>
                    <a:pt x="271541" y="149638"/>
                  </a:cubicBezTo>
                  <a:cubicBezTo>
                    <a:pt x="271742" y="139611"/>
                    <a:pt x="270788" y="129594"/>
                    <a:pt x="268701" y="119783"/>
                  </a:cubicBezTo>
                  <a:cubicBezTo>
                    <a:pt x="258675" y="111333"/>
                    <a:pt x="247813" y="103922"/>
                    <a:pt x="236280" y="97666"/>
                  </a:cubicBezTo>
                  <a:cubicBezTo>
                    <a:pt x="234797" y="89267"/>
                    <a:pt x="232419" y="81049"/>
                    <a:pt x="229181" y="73154"/>
                  </a:cubicBezTo>
                  <a:cubicBezTo>
                    <a:pt x="229181" y="73154"/>
                    <a:pt x="229181" y="73154"/>
                    <a:pt x="229181" y="73154"/>
                  </a:cubicBezTo>
                  <a:cubicBezTo>
                    <a:pt x="237436" y="77501"/>
                    <a:pt x="245344" y="82464"/>
                    <a:pt x="252846" y="88003"/>
                  </a:cubicBezTo>
                  <a:cubicBezTo>
                    <a:pt x="243798" y="77296"/>
                    <a:pt x="233555" y="67650"/>
                    <a:pt x="222318" y="59248"/>
                  </a:cubicBezTo>
                  <a:cubicBezTo>
                    <a:pt x="220405" y="56058"/>
                    <a:pt x="218299" y="52988"/>
                    <a:pt x="216008" y="50056"/>
                  </a:cubicBezTo>
                  <a:cubicBezTo>
                    <a:pt x="231855" y="60831"/>
                    <a:pt x="246330" y="73481"/>
                    <a:pt x="259117" y="87728"/>
                  </a:cubicBezTo>
                  <a:cubicBezTo>
                    <a:pt x="264371" y="94494"/>
                    <a:pt x="268563" y="102018"/>
                    <a:pt x="271541" y="110041"/>
                  </a:cubicBezTo>
                  <a:cubicBezTo>
                    <a:pt x="272448" y="112398"/>
                    <a:pt x="273237" y="114754"/>
                    <a:pt x="273947" y="117072"/>
                  </a:cubicBezTo>
                  <a:cubicBezTo>
                    <a:pt x="284478" y="152427"/>
                    <a:pt x="277891" y="192102"/>
                    <a:pt x="266059" y="224628"/>
                  </a:cubicBezTo>
                  <a:cubicBezTo>
                    <a:pt x="251663" y="262325"/>
                    <a:pt x="230254" y="296975"/>
                    <a:pt x="202953" y="326764"/>
                  </a:cubicBezTo>
                  <a:lnTo>
                    <a:pt x="253240" y="326764"/>
                  </a:lnTo>
                  <a:cubicBezTo>
                    <a:pt x="258091" y="319850"/>
                    <a:pt x="262509" y="313290"/>
                    <a:pt x="267005" y="305747"/>
                  </a:cubicBezTo>
                  <a:cubicBezTo>
                    <a:pt x="263653" y="300680"/>
                    <a:pt x="248310" y="282806"/>
                    <a:pt x="248310" y="282806"/>
                  </a:cubicBezTo>
                  <a:cubicBezTo>
                    <a:pt x="256825" y="269024"/>
                    <a:pt x="264201" y="254572"/>
                    <a:pt x="270358" y="239595"/>
                  </a:cubicBezTo>
                  <a:cubicBezTo>
                    <a:pt x="276885" y="246893"/>
                    <a:pt x="282995" y="254552"/>
                    <a:pt x="288658" y="262536"/>
                  </a:cubicBezTo>
                  <a:cubicBezTo>
                    <a:pt x="293703" y="250116"/>
                    <a:pt x="297572" y="237254"/>
                    <a:pt x="300215" y="224118"/>
                  </a:cubicBezTo>
                  <a:cubicBezTo>
                    <a:pt x="294882" y="216100"/>
                    <a:pt x="289033" y="208436"/>
                    <a:pt x="282703" y="201177"/>
                  </a:cubicBezTo>
                  <a:cubicBezTo>
                    <a:pt x="285436" y="189178"/>
                    <a:pt x="286982" y="176942"/>
                    <a:pt x="287317" y="164644"/>
                  </a:cubicBezTo>
                  <a:cubicBezTo>
                    <a:pt x="293352" y="171832"/>
                    <a:pt x="301516" y="183224"/>
                    <a:pt x="301516" y="183224"/>
                  </a:cubicBezTo>
                  <a:lnTo>
                    <a:pt x="301516" y="183224"/>
                  </a:lnTo>
                  <a:cubicBezTo>
                    <a:pt x="299722" y="166651"/>
                    <a:pt x="294338" y="150662"/>
                    <a:pt x="285740" y="136360"/>
                  </a:cubicBezTo>
                  <a:cubicBezTo>
                    <a:pt x="285688" y="135897"/>
                    <a:pt x="285610" y="135438"/>
                    <a:pt x="285503" y="134985"/>
                  </a:cubicBezTo>
                  <a:cubicBezTo>
                    <a:pt x="284087" y="127983"/>
                    <a:pt x="282257" y="121070"/>
                    <a:pt x="280021" y="114283"/>
                  </a:cubicBezTo>
                  <a:cubicBezTo>
                    <a:pt x="288477" y="127071"/>
                    <a:pt x="295639" y="140664"/>
                    <a:pt x="301398" y="154862"/>
                  </a:cubicBezTo>
                  <a:cubicBezTo>
                    <a:pt x="307275" y="170971"/>
                    <a:pt x="310174" y="188006"/>
                    <a:pt x="309957" y="205144"/>
                  </a:cubicBezTo>
                  <a:cubicBezTo>
                    <a:pt x="309957" y="215201"/>
                    <a:pt x="307945" y="267643"/>
                    <a:pt x="267755" y="326921"/>
                  </a:cubicBezTo>
                  <a:lnTo>
                    <a:pt x="280415" y="326921"/>
                  </a:lnTo>
                  <a:cubicBezTo>
                    <a:pt x="288441" y="312076"/>
                    <a:pt x="295541" y="296752"/>
                    <a:pt x="301674" y="281038"/>
                  </a:cubicBezTo>
                  <a:cubicBezTo>
                    <a:pt x="301674" y="281549"/>
                    <a:pt x="304632" y="288895"/>
                    <a:pt x="306683" y="296359"/>
                  </a:cubicBezTo>
                  <a:cubicBezTo>
                    <a:pt x="311022" y="281046"/>
                    <a:pt x="314047" y="265396"/>
                    <a:pt x="315715" y="249573"/>
                  </a:cubicBezTo>
                  <a:cubicBezTo>
                    <a:pt x="315202" y="247491"/>
                    <a:pt x="314059" y="244113"/>
                    <a:pt x="313388" y="242031"/>
                  </a:cubicBezTo>
                  <a:cubicBezTo>
                    <a:pt x="315246" y="232356"/>
                    <a:pt x="316563" y="222586"/>
                    <a:pt x="317332" y="212765"/>
                  </a:cubicBezTo>
                  <a:cubicBezTo>
                    <a:pt x="318819" y="223557"/>
                    <a:pt x="319568" y="234437"/>
                    <a:pt x="319580" y="245330"/>
                  </a:cubicBezTo>
                  <a:cubicBezTo>
                    <a:pt x="319600" y="264120"/>
                    <a:pt x="317376" y="282845"/>
                    <a:pt x="312954" y="301112"/>
                  </a:cubicBezTo>
                  <a:cubicBezTo>
                    <a:pt x="310706" y="309990"/>
                    <a:pt x="307985" y="318711"/>
                    <a:pt x="305066" y="326921"/>
                  </a:cubicBezTo>
                  <a:lnTo>
                    <a:pt x="315952" y="326921"/>
                  </a:lnTo>
                  <a:cubicBezTo>
                    <a:pt x="360804" y="198573"/>
                    <a:pt x="292697" y="58314"/>
                    <a:pt x="163831" y="13643"/>
                  </a:cubicBezTo>
                  <a:cubicBezTo>
                    <a:pt x="137957" y="4673"/>
                    <a:pt x="110764" y="53"/>
                    <a:pt x="83367" y="-30"/>
                  </a:cubicBezTo>
                  <a:close/>
                </a:path>
              </a:pathLst>
            </a:custGeom>
            <a:grpFill/>
            <a:ln w="4196" cap="flat">
              <a:noFill/>
              <a:prstDash val="solid"/>
              <a:miter/>
            </a:ln>
          </p:spPr>
          <p:txBody>
            <a:bodyPr rtlCol="0" anchor="ctr"/>
            <a:lstStyle/>
            <a:p>
              <a:endParaRPr lang="en-GB">
                <a:solidFill>
                  <a:schemeClr val="tx1"/>
                </a:solidFill>
              </a:endParaRPr>
            </a:p>
          </p:txBody>
        </p:sp>
        <p:sp>
          <p:nvSpPr>
            <p:cNvPr id="32" name="Freeform 31">
              <a:extLst>
                <a:ext uri="{FF2B5EF4-FFF2-40B4-BE49-F238E27FC236}">
                  <a16:creationId xmlns:a16="http://schemas.microsoft.com/office/drawing/2014/main" id="{8C530AFA-B6FE-360A-E0C8-75ABAA033206}"/>
                </a:ext>
              </a:extLst>
            </p:cNvPr>
            <p:cNvSpPr/>
            <p:nvPr/>
          </p:nvSpPr>
          <p:spPr>
            <a:xfrm>
              <a:off x="104189" y="6461511"/>
              <a:ext cx="23191" cy="15673"/>
            </a:xfrm>
            <a:custGeom>
              <a:avLst/>
              <a:gdLst>
                <a:gd name="connsiteX0" fmla="*/ 7837 w 23191"/>
                <a:gd name="connsiteY0" fmla="*/ 2091 h 15673"/>
                <a:gd name="connsiteX1" fmla="*/ -51 w 23191"/>
                <a:gd name="connsiteY1" fmla="*/ 7787 h 15673"/>
                <a:gd name="connsiteX2" fmla="*/ -51 w 23191"/>
                <a:gd name="connsiteY2" fmla="*/ 15644 h 15673"/>
                <a:gd name="connsiteX3" fmla="*/ 23140 w 23191"/>
                <a:gd name="connsiteY3" fmla="*/ -30 h 15673"/>
                <a:gd name="connsiteX4" fmla="*/ 7837 w 23191"/>
                <a:gd name="connsiteY4" fmla="*/ 2091 h 15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91" h="15673">
                  <a:moveTo>
                    <a:pt x="7837" y="2091"/>
                  </a:moveTo>
                  <a:cubicBezTo>
                    <a:pt x="5155" y="3859"/>
                    <a:pt x="2552" y="5784"/>
                    <a:pt x="-51" y="7787"/>
                  </a:cubicBezTo>
                  <a:lnTo>
                    <a:pt x="-51" y="15644"/>
                  </a:lnTo>
                  <a:cubicBezTo>
                    <a:pt x="7287" y="9865"/>
                    <a:pt x="15038" y="4627"/>
                    <a:pt x="23140" y="-30"/>
                  </a:cubicBezTo>
                  <a:cubicBezTo>
                    <a:pt x="17994" y="307"/>
                    <a:pt x="12880" y="1016"/>
                    <a:pt x="7837" y="2091"/>
                  </a:cubicBezTo>
                  <a:close/>
                </a:path>
              </a:pathLst>
            </a:custGeom>
            <a:grpFill/>
            <a:ln w="4196" cap="flat">
              <a:noFill/>
              <a:prstDash val="solid"/>
              <a:miter/>
            </a:ln>
          </p:spPr>
          <p:txBody>
            <a:bodyPr rtlCol="0" anchor="ctr"/>
            <a:lstStyle/>
            <a:p>
              <a:endParaRPr lang="en-GB">
                <a:solidFill>
                  <a:schemeClr val="tx1"/>
                </a:solidFill>
              </a:endParaRPr>
            </a:p>
          </p:txBody>
        </p:sp>
        <p:sp>
          <p:nvSpPr>
            <p:cNvPr id="33" name="Freeform 32">
              <a:extLst>
                <a:ext uri="{FF2B5EF4-FFF2-40B4-BE49-F238E27FC236}">
                  <a16:creationId xmlns:a16="http://schemas.microsoft.com/office/drawing/2014/main" id="{85AA3D95-19AA-8470-601B-6F198CF99F30}"/>
                </a:ext>
              </a:extLst>
            </p:cNvPr>
            <p:cNvSpPr/>
            <p:nvPr/>
          </p:nvSpPr>
          <p:spPr>
            <a:xfrm>
              <a:off x="104267" y="6461511"/>
              <a:ext cx="81863" cy="137725"/>
            </a:xfrm>
            <a:custGeom>
              <a:avLst/>
              <a:gdLst>
                <a:gd name="connsiteX0" fmla="*/ 38838 w 81863"/>
                <a:gd name="connsiteY0" fmla="*/ 137696 h 137725"/>
                <a:gd name="connsiteX1" fmla="*/ 55443 w 81863"/>
                <a:gd name="connsiteY1" fmla="*/ 117740 h 137725"/>
                <a:gd name="connsiteX2" fmla="*/ 9296 w 81863"/>
                <a:gd name="connsiteY2" fmla="*/ 96095 h 137725"/>
                <a:gd name="connsiteX3" fmla="*/ 16396 w 81863"/>
                <a:gd name="connsiteY3" fmla="*/ 82346 h 137725"/>
                <a:gd name="connsiteX4" fmla="*/ 69050 w 81863"/>
                <a:gd name="connsiteY4" fmla="*/ 95938 h 137725"/>
                <a:gd name="connsiteX5" fmla="*/ 76938 w 81863"/>
                <a:gd name="connsiteY5" fmla="*/ 76886 h 137725"/>
                <a:gd name="connsiteX6" fmla="*/ 20103 w 81863"/>
                <a:gd name="connsiteY6" fmla="*/ 70915 h 137725"/>
                <a:gd name="connsiteX7" fmla="*/ 21760 w 81863"/>
                <a:gd name="connsiteY7" fmla="*/ 59562 h 137725"/>
                <a:gd name="connsiteX8" fmla="*/ 81198 w 81863"/>
                <a:gd name="connsiteY8" fmla="*/ 58187 h 137725"/>
                <a:gd name="connsiteX9" fmla="*/ 81592 w 81863"/>
                <a:gd name="connsiteY9" fmla="*/ 43063 h 137725"/>
                <a:gd name="connsiteX10" fmla="*/ 21405 w 81863"/>
                <a:gd name="connsiteY10" fmla="*/ 50920 h 137725"/>
                <a:gd name="connsiteX11" fmla="*/ 19551 w 81863"/>
                <a:gd name="connsiteY11" fmla="*/ 43063 h 137725"/>
                <a:gd name="connsiteX12" fmla="*/ 78713 w 81863"/>
                <a:gd name="connsiteY12" fmla="*/ 29511 h 137725"/>
                <a:gd name="connsiteX13" fmla="*/ 73112 w 81863"/>
                <a:gd name="connsiteY13" fmla="*/ 19101 h 137725"/>
                <a:gd name="connsiteX14" fmla="*/ 17264 w 81863"/>
                <a:gd name="connsiteY14" fmla="*/ 36542 h 137725"/>
                <a:gd name="connsiteX15" fmla="*/ 16830 w 81863"/>
                <a:gd name="connsiteY15" fmla="*/ 36542 h 137725"/>
                <a:gd name="connsiteX16" fmla="*/ 12886 w 81863"/>
                <a:gd name="connsiteY16" fmla="*/ 31161 h 137725"/>
                <a:gd name="connsiteX17" fmla="*/ 64790 w 81863"/>
                <a:gd name="connsiteY17" fmla="*/ 10537 h 137725"/>
                <a:gd name="connsiteX18" fmla="*/ 55561 w 81863"/>
                <a:gd name="connsiteY18" fmla="*/ 5038 h 137725"/>
                <a:gd name="connsiteX19" fmla="*/ 8902 w 81863"/>
                <a:gd name="connsiteY19" fmla="*/ 27232 h 137725"/>
                <a:gd name="connsiteX20" fmla="*/ 4169 w 81863"/>
                <a:gd name="connsiteY20" fmla="*/ 23893 h 137725"/>
                <a:gd name="connsiteX21" fmla="*/ 44912 w 81863"/>
                <a:gd name="connsiteY21" fmla="*/ 1502 h 137725"/>
                <a:gd name="connsiteX22" fmla="*/ 34381 w 81863"/>
                <a:gd name="connsiteY22" fmla="*/ -30 h 137725"/>
                <a:gd name="connsiteX23" fmla="*/ -51 w 81863"/>
                <a:gd name="connsiteY23" fmla="*/ 21615 h 137725"/>
                <a:gd name="connsiteX24" fmla="*/ -51 w 81863"/>
                <a:gd name="connsiteY24" fmla="*/ 21615 h 137725"/>
                <a:gd name="connsiteX25" fmla="*/ -51 w 81863"/>
                <a:gd name="connsiteY25" fmla="*/ 30611 h 137725"/>
                <a:gd name="connsiteX26" fmla="*/ 3893 w 81863"/>
                <a:gd name="connsiteY26" fmla="*/ 33478 h 137725"/>
                <a:gd name="connsiteX27" fmla="*/ -51 w 81863"/>
                <a:gd name="connsiteY27" fmla="*/ 92049 h 137725"/>
                <a:gd name="connsiteX28" fmla="*/ -51 w 81863"/>
                <a:gd name="connsiteY28" fmla="*/ 110237 h 137725"/>
                <a:gd name="connsiteX29" fmla="*/ 29885 w 81863"/>
                <a:gd name="connsiteY29" fmla="*/ 131057 h 137725"/>
                <a:gd name="connsiteX30" fmla="*/ 38838 w 81863"/>
                <a:gd name="connsiteY30" fmla="*/ 137696 h 13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1863" h="137725">
                  <a:moveTo>
                    <a:pt x="38838" y="137696"/>
                  </a:moveTo>
                  <a:cubicBezTo>
                    <a:pt x="44809" y="131416"/>
                    <a:pt x="50356" y="124749"/>
                    <a:pt x="55443" y="117740"/>
                  </a:cubicBezTo>
                  <a:cubicBezTo>
                    <a:pt x="42782" y="110630"/>
                    <a:pt x="9296" y="96095"/>
                    <a:pt x="9296" y="96095"/>
                  </a:cubicBezTo>
                  <a:cubicBezTo>
                    <a:pt x="12065" y="91729"/>
                    <a:pt x="14440" y="87128"/>
                    <a:pt x="16396" y="82346"/>
                  </a:cubicBezTo>
                  <a:cubicBezTo>
                    <a:pt x="23614" y="83996"/>
                    <a:pt x="50986" y="90556"/>
                    <a:pt x="69050" y="95938"/>
                  </a:cubicBezTo>
                  <a:cubicBezTo>
                    <a:pt x="72171" y="89800"/>
                    <a:pt x="74809" y="83431"/>
                    <a:pt x="76938" y="76886"/>
                  </a:cubicBezTo>
                  <a:cubicBezTo>
                    <a:pt x="58145" y="73656"/>
                    <a:pt x="39159" y="71661"/>
                    <a:pt x="20103" y="70915"/>
                  </a:cubicBezTo>
                  <a:cubicBezTo>
                    <a:pt x="21049" y="67198"/>
                    <a:pt x="21604" y="63393"/>
                    <a:pt x="21760" y="59562"/>
                  </a:cubicBezTo>
                  <a:cubicBezTo>
                    <a:pt x="23337" y="59562"/>
                    <a:pt x="64080" y="57284"/>
                    <a:pt x="81198" y="58187"/>
                  </a:cubicBezTo>
                  <a:cubicBezTo>
                    <a:pt x="81853" y="53173"/>
                    <a:pt x="81985" y="48104"/>
                    <a:pt x="81592" y="43063"/>
                  </a:cubicBezTo>
                  <a:cubicBezTo>
                    <a:pt x="61345" y="44008"/>
                    <a:pt x="41213" y="46636"/>
                    <a:pt x="21405" y="50920"/>
                  </a:cubicBezTo>
                  <a:cubicBezTo>
                    <a:pt x="21021" y="48252"/>
                    <a:pt x="20401" y="45623"/>
                    <a:pt x="19551" y="43063"/>
                  </a:cubicBezTo>
                  <a:cubicBezTo>
                    <a:pt x="38830" y="36810"/>
                    <a:pt x="58628" y="32275"/>
                    <a:pt x="78713" y="29511"/>
                  </a:cubicBezTo>
                  <a:cubicBezTo>
                    <a:pt x="77345" y="25797"/>
                    <a:pt x="75459" y="22293"/>
                    <a:pt x="73112" y="19101"/>
                  </a:cubicBezTo>
                  <a:cubicBezTo>
                    <a:pt x="54017" y="23268"/>
                    <a:pt x="35328" y="29104"/>
                    <a:pt x="17264" y="36542"/>
                  </a:cubicBezTo>
                  <a:lnTo>
                    <a:pt x="16830" y="36542"/>
                  </a:lnTo>
                  <a:cubicBezTo>
                    <a:pt x="15691" y="34627"/>
                    <a:pt x="14370" y="32825"/>
                    <a:pt x="12886" y="31161"/>
                  </a:cubicBezTo>
                  <a:cubicBezTo>
                    <a:pt x="29536" y="22760"/>
                    <a:pt x="46906" y="15858"/>
                    <a:pt x="64790" y="10537"/>
                  </a:cubicBezTo>
                  <a:cubicBezTo>
                    <a:pt x="61936" y="8357"/>
                    <a:pt x="58839" y="6512"/>
                    <a:pt x="55561" y="5038"/>
                  </a:cubicBezTo>
                  <a:cubicBezTo>
                    <a:pt x="39289" y="10833"/>
                    <a:pt x="23655" y="18270"/>
                    <a:pt x="8902" y="27232"/>
                  </a:cubicBezTo>
                  <a:cubicBezTo>
                    <a:pt x="7406" y="26008"/>
                    <a:pt x="5825" y="24892"/>
                    <a:pt x="4169" y="23893"/>
                  </a:cubicBezTo>
                  <a:cubicBezTo>
                    <a:pt x="16955" y="15077"/>
                    <a:pt x="30606" y="7575"/>
                    <a:pt x="44912" y="1502"/>
                  </a:cubicBezTo>
                  <a:cubicBezTo>
                    <a:pt x="41443" y="739"/>
                    <a:pt x="37924" y="227"/>
                    <a:pt x="34381" y="-30"/>
                  </a:cubicBezTo>
                  <a:cubicBezTo>
                    <a:pt x="22170" y="5956"/>
                    <a:pt x="10628" y="13211"/>
                    <a:pt x="-51" y="21615"/>
                  </a:cubicBezTo>
                  <a:lnTo>
                    <a:pt x="-51" y="21615"/>
                  </a:lnTo>
                  <a:lnTo>
                    <a:pt x="-51" y="30611"/>
                  </a:lnTo>
                  <a:cubicBezTo>
                    <a:pt x="1354" y="31437"/>
                    <a:pt x="2675" y="32398"/>
                    <a:pt x="3893" y="33478"/>
                  </a:cubicBezTo>
                  <a:cubicBezTo>
                    <a:pt x="17303" y="45577"/>
                    <a:pt x="15134" y="70404"/>
                    <a:pt x="-51" y="92049"/>
                  </a:cubicBezTo>
                  <a:lnTo>
                    <a:pt x="-51" y="110237"/>
                  </a:lnTo>
                  <a:lnTo>
                    <a:pt x="29885" y="131057"/>
                  </a:lnTo>
                  <a:cubicBezTo>
                    <a:pt x="32777" y="133099"/>
                    <a:pt x="35761" y="135312"/>
                    <a:pt x="38838" y="137696"/>
                  </a:cubicBezTo>
                  <a:close/>
                </a:path>
              </a:pathLst>
            </a:custGeom>
            <a:grpFill/>
            <a:ln w="4196" cap="flat">
              <a:noFill/>
              <a:prstDash val="solid"/>
              <a:miter/>
            </a:ln>
          </p:spPr>
          <p:txBody>
            <a:bodyPr rtlCol="0" anchor="ctr"/>
            <a:lstStyle/>
            <a:p>
              <a:endParaRPr lang="en-GB">
                <a:solidFill>
                  <a:schemeClr val="tx1"/>
                </a:solidFill>
              </a:endParaRPr>
            </a:p>
          </p:txBody>
        </p:sp>
      </p:grpSp>
    </p:spTree>
    <p:extLst>
      <p:ext uri="{BB962C8B-B14F-4D97-AF65-F5344CB8AC3E}">
        <p14:creationId xmlns:p14="http://schemas.microsoft.com/office/powerpoint/2010/main" val="223776243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Executive summary">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C5AA4C05-00C9-C43F-158A-78AABBFB84A5}"/>
              </a:ext>
            </a:extLst>
          </p:cNvPr>
          <p:cNvSpPr/>
          <p:nvPr userDrawn="1"/>
        </p:nvSpPr>
        <p:spPr>
          <a:xfrm flipV="1">
            <a:off x="4186239" y="0"/>
            <a:ext cx="8005761" cy="68579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0E138D5B-B792-325C-B4BE-8C1215378ED0}"/>
              </a:ext>
            </a:extLst>
          </p:cNvPr>
          <p:cNvSpPr/>
          <p:nvPr userDrawn="1"/>
        </p:nvSpPr>
        <p:spPr>
          <a:xfrm flipV="1">
            <a:off x="0" y="1"/>
            <a:ext cx="4186239" cy="304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5BE5953D-0B71-E3B4-906E-497A5DB1AF90}"/>
              </a:ext>
            </a:extLst>
          </p:cNvPr>
          <p:cNvSpPr>
            <a:spLocks noGrp="1"/>
          </p:cNvSpPr>
          <p:nvPr>
            <p:ph type="title" hasCustomPrompt="1"/>
          </p:nvPr>
        </p:nvSpPr>
        <p:spPr>
          <a:xfrm>
            <a:off x="381001" y="346076"/>
            <a:ext cx="3427414" cy="886397"/>
          </a:xfrm>
        </p:spPr>
        <p:txBody>
          <a:bodyPr>
            <a:spAutoFit/>
          </a:bodyPr>
          <a:lstStyle>
            <a:lvl1pPr>
              <a:defRPr>
                <a:solidFill>
                  <a:schemeClr val="bg1"/>
                </a:solidFill>
              </a:defRPr>
            </a:lvl1pPr>
          </a:lstStyle>
          <a:p>
            <a:r>
              <a:rPr lang="en-GB"/>
              <a:t>Executive summary</a:t>
            </a:r>
          </a:p>
        </p:txBody>
      </p:sp>
      <p:sp>
        <p:nvSpPr>
          <p:cNvPr id="10" name="Content Placeholder 2">
            <a:extLst>
              <a:ext uri="{FF2B5EF4-FFF2-40B4-BE49-F238E27FC236}">
                <a16:creationId xmlns:a16="http://schemas.microsoft.com/office/drawing/2014/main" id="{78857DA3-B600-F411-DCDF-66FEE0670A5E}"/>
              </a:ext>
            </a:extLst>
          </p:cNvPr>
          <p:cNvSpPr>
            <a:spLocks noGrp="1"/>
          </p:cNvSpPr>
          <p:nvPr>
            <p:ph idx="1"/>
          </p:nvPr>
        </p:nvSpPr>
        <p:spPr>
          <a:xfrm>
            <a:off x="4572001" y="381001"/>
            <a:ext cx="7242174" cy="5714999"/>
          </a:xfrm>
        </p:spPr>
        <p:txBody>
          <a:bodyPr/>
          <a:lstStyle>
            <a:lvl1pPr marL="271463" indent="-271463">
              <a:buFont typeface="+mj-lt"/>
              <a:buAutoNum type="arabicPeriod"/>
              <a:tabLst/>
              <a:defRPr>
                <a:solidFill>
                  <a:schemeClr val="bg1"/>
                </a:solidFill>
              </a:defRPr>
            </a:lvl1pPr>
            <a:lvl2pPr marL="584200" indent="-312738">
              <a:tabLst/>
              <a:defRPr>
                <a:solidFill>
                  <a:schemeClr val="bg1"/>
                </a:solidFill>
              </a:defRPr>
            </a:lvl2pPr>
            <a:lvl3pPr marL="715963" indent="-131763">
              <a:tabLst/>
              <a:defRPr>
                <a:solidFill>
                  <a:schemeClr val="bg1"/>
                </a:solidFill>
              </a:defRPr>
            </a:lvl3pPr>
            <a:lvl4pPr marL="890588" indent="-174625">
              <a:tabLst/>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4" name="Footer Placeholder 3">
            <a:extLst>
              <a:ext uri="{FF2B5EF4-FFF2-40B4-BE49-F238E27FC236}">
                <a16:creationId xmlns:a16="http://schemas.microsoft.com/office/drawing/2014/main" id="{078E2568-5890-83E7-4EE4-B1ED39A5D9A0}"/>
              </a:ext>
            </a:extLst>
          </p:cNvPr>
          <p:cNvSpPr>
            <a:spLocks noGrp="1"/>
          </p:cNvSpPr>
          <p:nvPr>
            <p:ph type="ftr" sz="quarter" idx="18"/>
          </p:nvPr>
        </p:nvSpPr>
        <p:spPr/>
        <p:txBody>
          <a:bodyPr/>
          <a:lstStyle>
            <a:lvl1pPr>
              <a:defRPr>
                <a:solidFill>
                  <a:schemeClr val="bg1"/>
                </a:solidFill>
              </a:defRPr>
            </a:lvl1pPr>
          </a:lstStyle>
          <a:p>
            <a:r>
              <a:rPr lang="en-GB"/>
              <a:t>Slide footer </a:t>
            </a:r>
          </a:p>
        </p:txBody>
      </p:sp>
      <p:sp>
        <p:nvSpPr>
          <p:cNvPr id="6" name="Slide Number Placeholder 5">
            <a:extLst>
              <a:ext uri="{FF2B5EF4-FFF2-40B4-BE49-F238E27FC236}">
                <a16:creationId xmlns:a16="http://schemas.microsoft.com/office/drawing/2014/main" id="{BA257344-61F9-5541-D804-3F974283B492}"/>
              </a:ext>
            </a:extLst>
          </p:cNvPr>
          <p:cNvSpPr>
            <a:spLocks noGrp="1"/>
          </p:cNvSpPr>
          <p:nvPr>
            <p:ph type="sldNum" sz="quarter" idx="19"/>
          </p:nvPr>
        </p:nvSpPr>
        <p:spPr/>
        <p:txBody>
          <a:bodyPr/>
          <a:lstStyle>
            <a:lvl1pPr>
              <a:defRPr>
                <a:solidFill>
                  <a:schemeClr val="bg1"/>
                </a:solidFill>
              </a:defRPr>
            </a:lvl1pPr>
          </a:lstStyle>
          <a:p>
            <a:fld id="{24FD2396-7F2C-D741-B592-F93892A44B62}" type="slidenum">
              <a:rPr lang="en-GB" smtClean="0"/>
              <a:pPr/>
              <a:t>‹#›</a:t>
            </a:fld>
            <a:endParaRPr lang="en-GB"/>
          </a:p>
        </p:txBody>
      </p:sp>
      <p:sp>
        <p:nvSpPr>
          <p:cNvPr id="5" name="Content Placeholder 4">
            <a:extLst>
              <a:ext uri="{FF2B5EF4-FFF2-40B4-BE49-F238E27FC236}">
                <a16:creationId xmlns:a16="http://schemas.microsoft.com/office/drawing/2014/main" id="{ED9822C3-F533-A828-0090-3653AE07132A}"/>
              </a:ext>
            </a:extLst>
          </p:cNvPr>
          <p:cNvSpPr>
            <a:spLocks noGrp="1"/>
          </p:cNvSpPr>
          <p:nvPr>
            <p:ph sz="quarter" idx="21" hasCustomPrompt="1"/>
          </p:nvPr>
        </p:nvSpPr>
        <p:spPr>
          <a:xfrm>
            <a:off x="377826" y="3429001"/>
            <a:ext cx="3430588" cy="2667000"/>
          </a:xfrm>
        </p:spPr>
        <p:txBody>
          <a:bodyPr/>
          <a:lstStyle/>
          <a:p>
            <a:pPr lvl="0"/>
            <a:r>
              <a:rPr lang="en-GB"/>
              <a:t>Optional key insight/chart.</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60483728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Executive summary">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8857DA3-B600-F411-DCDF-66FEE0670A5E}"/>
              </a:ext>
            </a:extLst>
          </p:cNvPr>
          <p:cNvSpPr>
            <a:spLocks noGrp="1"/>
          </p:cNvSpPr>
          <p:nvPr>
            <p:ph idx="1"/>
          </p:nvPr>
        </p:nvSpPr>
        <p:spPr>
          <a:xfrm>
            <a:off x="4572001" y="381001"/>
            <a:ext cx="7242174" cy="5714999"/>
          </a:xfrm>
        </p:spPr>
        <p:txBody>
          <a:bodyPr/>
          <a:lstStyle>
            <a:lvl1pPr marL="271463" indent="-271463">
              <a:buFont typeface="+mj-lt"/>
              <a:buAutoNum type="arabicPeriod"/>
              <a:tabLst/>
              <a:defRPr>
                <a:solidFill>
                  <a:schemeClr val="tx2"/>
                </a:solidFill>
              </a:defRPr>
            </a:lvl1pPr>
            <a:lvl2pPr marL="584200" indent="-312738">
              <a:tabLst/>
              <a:defRPr>
                <a:solidFill>
                  <a:schemeClr val="tx2"/>
                </a:solidFill>
              </a:defRPr>
            </a:lvl2pPr>
            <a:lvl3pPr marL="715963" indent="-131763">
              <a:tabLst/>
              <a:defRPr>
                <a:solidFill>
                  <a:schemeClr val="tx2"/>
                </a:solidFill>
              </a:defRPr>
            </a:lvl3pPr>
            <a:lvl4pPr marL="890588" indent="-174625">
              <a:tabLst/>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4" name="Footer Placeholder 3">
            <a:extLst>
              <a:ext uri="{FF2B5EF4-FFF2-40B4-BE49-F238E27FC236}">
                <a16:creationId xmlns:a16="http://schemas.microsoft.com/office/drawing/2014/main" id="{078E2568-5890-83E7-4EE4-B1ED39A5D9A0}"/>
              </a:ext>
            </a:extLst>
          </p:cNvPr>
          <p:cNvSpPr>
            <a:spLocks noGrp="1"/>
          </p:cNvSpPr>
          <p:nvPr>
            <p:ph type="ftr" sz="quarter" idx="18"/>
          </p:nvPr>
        </p:nvSpPr>
        <p:spPr/>
        <p:txBody>
          <a:bodyPr vert="horz" lIns="0" tIns="0" rIns="0" bIns="0" rtlCol="0" anchor="t">
            <a:noAutofit/>
          </a:bodyPr>
          <a:lstStyle>
            <a:lvl1pPr>
              <a:defRPr lang="en-GB" smtClean="0"/>
            </a:lvl1pPr>
          </a:lstStyle>
          <a:p>
            <a:r>
              <a:rPr lang="en-GB"/>
              <a:t>Slide footer </a:t>
            </a:r>
          </a:p>
        </p:txBody>
      </p:sp>
      <p:sp>
        <p:nvSpPr>
          <p:cNvPr id="6" name="Slide Number Placeholder 5">
            <a:extLst>
              <a:ext uri="{FF2B5EF4-FFF2-40B4-BE49-F238E27FC236}">
                <a16:creationId xmlns:a16="http://schemas.microsoft.com/office/drawing/2014/main" id="{BA257344-61F9-5541-D804-3F974283B492}"/>
              </a:ext>
            </a:extLst>
          </p:cNvPr>
          <p:cNvSpPr>
            <a:spLocks noGrp="1"/>
          </p:cNvSpPr>
          <p:nvPr>
            <p:ph type="sldNum" sz="quarter" idx="19"/>
          </p:nvPr>
        </p:nvSpPr>
        <p:spPr/>
        <p:txBody>
          <a:bodyPr vert="horz" lIns="0" tIns="0" rIns="0" bIns="0" rtlCol="0" anchor="t">
            <a:noAutofit/>
          </a:bodyPr>
          <a:lstStyle>
            <a:lvl1pPr>
              <a:defRPr lang="en-GB" smtClean="0"/>
            </a:lvl1pPr>
          </a:lstStyle>
          <a:p>
            <a:fld id="{24FD2396-7F2C-D741-B592-F93892A44B62}" type="slidenum">
              <a:rPr lang="en-GB" smtClean="0"/>
              <a:pPr/>
              <a:t>‹#›</a:t>
            </a:fld>
            <a:endParaRPr lang="en-GB"/>
          </a:p>
        </p:txBody>
      </p:sp>
      <p:sp>
        <p:nvSpPr>
          <p:cNvPr id="5" name="Content Placeholder 4">
            <a:extLst>
              <a:ext uri="{FF2B5EF4-FFF2-40B4-BE49-F238E27FC236}">
                <a16:creationId xmlns:a16="http://schemas.microsoft.com/office/drawing/2014/main" id="{ED9822C3-F533-A828-0090-3653AE07132A}"/>
              </a:ext>
            </a:extLst>
          </p:cNvPr>
          <p:cNvSpPr>
            <a:spLocks noGrp="1"/>
          </p:cNvSpPr>
          <p:nvPr>
            <p:ph sz="quarter" idx="21" hasCustomPrompt="1"/>
          </p:nvPr>
        </p:nvSpPr>
        <p:spPr>
          <a:xfrm>
            <a:off x="377826" y="3429001"/>
            <a:ext cx="3430588" cy="2667000"/>
          </a:xfrm>
        </p:spPr>
        <p:txBody>
          <a:bodyPr/>
          <a:lstStyle/>
          <a:p>
            <a:pPr lvl="0"/>
            <a:r>
              <a:rPr lang="en-GB"/>
              <a:t>Optional key insight/chart.</a:t>
            </a:r>
          </a:p>
          <a:p>
            <a:pPr lvl="1"/>
            <a:r>
              <a:rPr lang="en-GB"/>
              <a:t>Second level</a:t>
            </a:r>
          </a:p>
          <a:p>
            <a:pPr lvl="2"/>
            <a:r>
              <a:rPr lang="en-GB"/>
              <a:t>Third level</a:t>
            </a:r>
          </a:p>
          <a:p>
            <a:pPr lvl="3"/>
            <a:r>
              <a:rPr lang="en-GB"/>
              <a:t>Fourth level</a:t>
            </a:r>
          </a:p>
          <a:p>
            <a:pPr lvl="4"/>
            <a:r>
              <a:rPr lang="en-GB"/>
              <a:t>Fifth level</a:t>
            </a:r>
          </a:p>
        </p:txBody>
      </p:sp>
      <p:sp>
        <p:nvSpPr>
          <p:cNvPr id="9" name="Rectangle 8">
            <a:extLst>
              <a:ext uri="{FF2B5EF4-FFF2-40B4-BE49-F238E27FC236}">
                <a16:creationId xmlns:a16="http://schemas.microsoft.com/office/drawing/2014/main" id="{0E138D5B-B792-325C-B4BE-8C1215378ED0}"/>
              </a:ext>
            </a:extLst>
          </p:cNvPr>
          <p:cNvSpPr/>
          <p:nvPr userDrawn="1"/>
        </p:nvSpPr>
        <p:spPr>
          <a:xfrm flipV="1">
            <a:off x="0" y="1"/>
            <a:ext cx="4186239" cy="304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1" name="Title 1">
            <a:extLst>
              <a:ext uri="{FF2B5EF4-FFF2-40B4-BE49-F238E27FC236}">
                <a16:creationId xmlns:a16="http://schemas.microsoft.com/office/drawing/2014/main" id="{5BE5953D-0B71-E3B4-906E-497A5DB1AF90}"/>
              </a:ext>
            </a:extLst>
          </p:cNvPr>
          <p:cNvSpPr>
            <a:spLocks noGrp="1"/>
          </p:cNvSpPr>
          <p:nvPr>
            <p:ph type="title" hasCustomPrompt="1"/>
          </p:nvPr>
        </p:nvSpPr>
        <p:spPr>
          <a:xfrm>
            <a:off x="381001" y="346076"/>
            <a:ext cx="3427414" cy="886397"/>
          </a:xfrm>
        </p:spPr>
        <p:txBody>
          <a:bodyPr>
            <a:spAutoFit/>
          </a:bodyPr>
          <a:lstStyle>
            <a:lvl1pPr>
              <a:defRPr>
                <a:solidFill>
                  <a:schemeClr val="bg1"/>
                </a:solidFill>
              </a:defRPr>
            </a:lvl1pPr>
          </a:lstStyle>
          <a:p>
            <a:r>
              <a:rPr lang="en-GB"/>
              <a:t>Executive summary</a:t>
            </a:r>
          </a:p>
        </p:txBody>
      </p:sp>
    </p:spTree>
    <p:extLst>
      <p:ext uri="{BB962C8B-B14F-4D97-AF65-F5344CB8AC3E}">
        <p14:creationId xmlns:p14="http://schemas.microsoft.com/office/powerpoint/2010/main" val="512818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3 - GREEN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E3F1FB2E-BA03-0ACF-AA49-BB1FBC21AC30}"/>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323293707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A455BF96-EDC6-BF1D-9B02-8D224416D8B2}"/>
              </a:ext>
            </a:extLst>
          </p:cNvPr>
          <p:cNvSpPr>
            <a:spLocks noGrp="1"/>
          </p:cNvSpPr>
          <p:nvPr>
            <p:ph idx="1"/>
          </p:nvPr>
        </p:nvSpPr>
        <p:spPr>
          <a:xfrm>
            <a:off x="381000" y="1520825"/>
            <a:ext cx="11433175" cy="45751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2" name="Title 1">
            <a:extLst>
              <a:ext uri="{FF2B5EF4-FFF2-40B4-BE49-F238E27FC236}">
                <a16:creationId xmlns:a16="http://schemas.microsoft.com/office/drawing/2014/main" id="{28B7ABED-858C-78E9-F77A-0E04D5A3A79F}"/>
              </a:ext>
            </a:extLst>
          </p:cNvPr>
          <p:cNvSpPr>
            <a:spLocks noGrp="1"/>
          </p:cNvSpPr>
          <p:nvPr>
            <p:ph type="title"/>
          </p:nvPr>
        </p:nvSpPr>
        <p:spPr/>
        <p:txBody>
          <a:bodyPr/>
          <a:lstStyle/>
          <a:p>
            <a:r>
              <a:rPr lang="en-GB"/>
              <a:t>Click to edit Master title style</a:t>
            </a:r>
            <a:endParaRPr lang="en-US"/>
          </a:p>
        </p:txBody>
      </p:sp>
      <p:sp>
        <p:nvSpPr>
          <p:cNvPr id="9" name="Text Placeholder 8">
            <a:extLst>
              <a:ext uri="{FF2B5EF4-FFF2-40B4-BE49-F238E27FC236}">
                <a16:creationId xmlns:a16="http://schemas.microsoft.com/office/drawing/2014/main" id="{466FCA43-77DF-722B-163B-1D14E251AA78}"/>
              </a:ext>
            </a:extLst>
          </p:cNvPr>
          <p:cNvSpPr>
            <a:spLocks noGrp="1"/>
          </p:cNvSpPr>
          <p:nvPr>
            <p:ph type="body" sz="quarter" idx="14" hasCustomPrompt="1"/>
          </p:nvPr>
        </p:nvSpPr>
        <p:spPr>
          <a:xfrm>
            <a:off x="766763" y="6473323"/>
            <a:ext cx="6853237" cy="207393"/>
          </a:xfrm>
        </p:spPr>
        <p:txBody>
          <a:bodyPr anchor="t">
            <a:noAutofit/>
          </a:bodyPr>
          <a:lstStyle>
            <a:lvl1pPr marL="0" indent="0">
              <a:spcBef>
                <a:spcPts val="0"/>
              </a:spcBef>
              <a:spcAft>
                <a:spcPts val="0"/>
              </a:spcAft>
              <a:buNone/>
              <a:defRPr lang="en-GB" sz="800" i="0" smtClean="0">
                <a:solidFill>
                  <a:schemeClr val="bg2"/>
                </a:solidFill>
                <a:effectLst/>
              </a:defRPr>
            </a:lvl1pPr>
            <a:lvl2pPr>
              <a:defRPr sz="1200" b="1">
                <a:solidFill>
                  <a:schemeClr val="bg1">
                    <a:lumMod val="50000"/>
                  </a:schemeClr>
                </a:solidFill>
              </a:defRPr>
            </a:lvl2pPr>
            <a:lvl3pPr>
              <a:defRPr sz="1200" b="1">
                <a:solidFill>
                  <a:schemeClr val="bg1">
                    <a:lumMod val="50000"/>
                  </a:schemeClr>
                </a:solidFill>
              </a:defRPr>
            </a:lvl3pPr>
            <a:lvl4pPr>
              <a:defRPr sz="1200" b="1">
                <a:solidFill>
                  <a:schemeClr val="bg1">
                    <a:lumMod val="50000"/>
                  </a:schemeClr>
                </a:solidFill>
              </a:defRPr>
            </a:lvl4pPr>
            <a:lvl5pPr>
              <a:defRPr sz="1200" b="1">
                <a:solidFill>
                  <a:schemeClr val="bg1">
                    <a:lumMod val="50000"/>
                  </a:schemeClr>
                </a:solidFill>
              </a:defRPr>
            </a:lvl5pPr>
          </a:lstStyle>
          <a:p>
            <a:pPr lvl="0"/>
            <a:r>
              <a:rPr lang="en-GB"/>
              <a:t>Notes: [Note information]      Source: [1. Source information 2. Source information]</a:t>
            </a:r>
          </a:p>
        </p:txBody>
      </p:sp>
      <p:sp>
        <p:nvSpPr>
          <p:cNvPr id="4" name="Footer Placeholder 3">
            <a:extLst>
              <a:ext uri="{FF2B5EF4-FFF2-40B4-BE49-F238E27FC236}">
                <a16:creationId xmlns:a16="http://schemas.microsoft.com/office/drawing/2014/main" id="{F4329558-1E8F-31C3-585C-8B886DB86FE1}"/>
              </a:ext>
            </a:extLst>
          </p:cNvPr>
          <p:cNvSpPr>
            <a:spLocks noGrp="1"/>
          </p:cNvSpPr>
          <p:nvPr>
            <p:ph type="ftr" sz="quarter" idx="15"/>
          </p:nvPr>
        </p:nvSpPr>
        <p:spPr>
          <a:xfrm>
            <a:off x="8023512" y="6473323"/>
            <a:ext cx="3022313" cy="207393"/>
          </a:xfrm>
        </p:spPr>
        <p:txBody>
          <a:bodyPr anchor="t"/>
          <a:lstStyle/>
          <a:p>
            <a:r>
              <a:rPr lang="en-GB"/>
              <a:t>Slide footer </a:t>
            </a:r>
          </a:p>
        </p:txBody>
      </p:sp>
      <p:sp>
        <p:nvSpPr>
          <p:cNvPr id="5" name="Slide Number Placeholder 4">
            <a:extLst>
              <a:ext uri="{FF2B5EF4-FFF2-40B4-BE49-F238E27FC236}">
                <a16:creationId xmlns:a16="http://schemas.microsoft.com/office/drawing/2014/main" id="{A1439660-13FC-80EC-B909-6A13C5AC3A17}"/>
              </a:ext>
            </a:extLst>
          </p:cNvPr>
          <p:cNvSpPr>
            <a:spLocks noGrp="1"/>
          </p:cNvSpPr>
          <p:nvPr>
            <p:ph type="sldNum" sz="quarter" idx="16"/>
          </p:nvPr>
        </p:nvSpPr>
        <p:spPr/>
        <p:txBody>
          <a:bodyPr/>
          <a:lstStyle/>
          <a:p>
            <a:fld id="{24FD2396-7F2C-D741-B592-F93892A44B62}" type="slidenum">
              <a:rPr lang="en-GB" smtClean="0"/>
              <a:pPr/>
              <a:t>‹#›</a:t>
            </a:fld>
            <a:endParaRPr lang="en-GB"/>
          </a:p>
        </p:txBody>
      </p:sp>
    </p:spTree>
    <p:extLst>
      <p:ext uri="{BB962C8B-B14F-4D97-AF65-F5344CB8AC3E}">
        <p14:creationId xmlns:p14="http://schemas.microsoft.com/office/powerpoint/2010/main" val="35837845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Heavy Conten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A455BF96-EDC6-BF1D-9B02-8D224416D8B2}"/>
              </a:ext>
            </a:extLst>
          </p:cNvPr>
          <p:cNvSpPr>
            <a:spLocks noGrp="1"/>
          </p:cNvSpPr>
          <p:nvPr>
            <p:ph idx="1"/>
          </p:nvPr>
        </p:nvSpPr>
        <p:spPr>
          <a:xfrm>
            <a:off x="381000" y="1520825"/>
            <a:ext cx="11433175" cy="4575175"/>
          </a:xfrm>
        </p:spPr>
        <p:txBody>
          <a:bodyPr>
            <a:normAutofit/>
          </a:bodyPr>
          <a:lstStyle>
            <a:lvl1pPr>
              <a:defRPr sz="1200"/>
            </a:lvl1pPr>
            <a:lvl2pPr>
              <a:defRPr sz="1200"/>
            </a:lvl2pPr>
            <a:lvl3pPr>
              <a:defRPr sz="1100"/>
            </a:lvl3pPr>
            <a:lvl4pPr>
              <a:defRPr sz="1100"/>
            </a:lvl4pPr>
            <a:lvl5pPr>
              <a:defRPr sz="1100"/>
            </a:lvl5pPr>
            <a:lvl6pPr>
              <a:defRPr sz="1100"/>
            </a:lvl6pPr>
            <a:lvl7pPr>
              <a:defRPr sz="1100"/>
            </a:lvl7pPr>
            <a:lvl8pPr>
              <a:defRPr sz="1100"/>
            </a:lvl8pPr>
            <a:lvl9pPr>
              <a:defRPr sz="1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2" name="Title 1">
            <a:extLst>
              <a:ext uri="{FF2B5EF4-FFF2-40B4-BE49-F238E27FC236}">
                <a16:creationId xmlns:a16="http://schemas.microsoft.com/office/drawing/2014/main" id="{28B7ABED-858C-78E9-F77A-0E04D5A3A79F}"/>
              </a:ext>
            </a:extLst>
          </p:cNvPr>
          <p:cNvSpPr>
            <a:spLocks noGrp="1"/>
          </p:cNvSpPr>
          <p:nvPr>
            <p:ph type="title"/>
          </p:nvPr>
        </p:nvSpPr>
        <p:spPr/>
        <p:txBody>
          <a:bodyPr/>
          <a:lstStyle/>
          <a:p>
            <a:r>
              <a:rPr lang="en-GB"/>
              <a:t>Click to edit Master title style</a:t>
            </a:r>
            <a:endParaRPr lang="en-US"/>
          </a:p>
        </p:txBody>
      </p:sp>
      <p:sp>
        <p:nvSpPr>
          <p:cNvPr id="9" name="Text Placeholder 8">
            <a:extLst>
              <a:ext uri="{FF2B5EF4-FFF2-40B4-BE49-F238E27FC236}">
                <a16:creationId xmlns:a16="http://schemas.microsoft.com/office/drawing/2014/main" id="{466FCA43-77DF-722B-163B-1D14E251AA78}"/>
              </a:ext>
            </a:extLst>
          </p:cNvPr>
          <p:cNvSpPr>
            <a:spLocks noGrp="1"/>
          </p:cNvSpPr>
          <p:nvPr>
            <p:ph type="body" sz="quarter" idx="14" hasCustomPrompt="1"/>
          </p:nvPr>
        </p:nvSpPr>
        <p:spPr>
          <a:xfrm>
            <a:off x="766763" y="6473323"/>
            <a:ext cx="6853237" cy="207393"/>
          </a:xfrm>
        </p:spPr>
        <p:txBody>
          <a:bodyPr anchor="t">
            <a:noAutofit/>
          </a:bodyPr>
          <a:lstStyle>
            <a:lvl1pPr marL="0" indent="0">
              <a:spcBef>
                <a:spcPts val="0"/>
              </a:spcBef>
              <a:spcAft>
                <a:spcPts val="0"/>
              </a:spcAft>
              <a:buNone/>
              <a:defRPr lang="en-GB" sz="800" i="0" smtClean="0">
                <a:solidFill>
                  <a:schemeClr val="bg2"/>
                </a:solidFill>
                <a:effectLst/>
              </a:defRPr>
            </a:lvl1pPr>
            <a:lvl2pPr>
              <a:defRPr sz="1200" b="1">
                <a:solidFill>
                  <a:schemeClr val="bg1">
                    <a:lumMod val="50000"/>
                  </a:schemeClr>
                </a:solidFill>
              </a:defRPr>
            </a:lvl2pPr>
            <a:lvl3pPr>
              <a:defRPr sz="1200" b="1">
                <a:solidFill>
                  <a:schemeClr val="bg1">
                    <a:lumMod val="50000"/>
                  </a:schemeClr>
                </a:solidFill>
              </a:defRPr>
            </a:lvl3pPr>
            <a:lvl4pPr>
              <a:defRPr sz="1200" b="1">
                <a:solidFill>
                  <a:schemeClr val="bg1">
                    <a:lumMod val="50000"/>
                  </a:schemeClr>
                </a:solidFill>
              </a:defRPr>
            </a:lvl4pPr>
            <a:lvl5pPr>
              <a:defRPr sz="1200" b="1">
                <a:solidFill>
                  <a:schemeClr val="bg1">
                    <a:lumMod val="50000"/>
                  </a:schemeClr>
                </a:solidFill>
              </a:defRPr>
            </a:lvl5pPr>
          </a:lstStyle>
          <a:p>
            <a:pPr lvl="0"/>
            <a:r>
              <a:rPr lang="en-GB"/>
              <a:t>Notes: [Note information]      Source: [1. Source information 2. Source information]</a:t>
            </a:r>
          </a:p>
        </p:txBody>
      </p:sp>
      <p:sp>
        <p:nvSpPr>
          <p:cNvPr id="4" name="Footer Placeholder 3">
            <a:extLst>
              <a:ext uri="{FF2B5EF4-FFF2-40B4-BE49-F238E27FC236}">
                <a16:creationId xmlns:a16="http://schemas.microsoft.com/office/drawing/2014/main" id="{F4329558-1E8F-31C3-585C-8B886DB86FE1}"/>
              </a:ext>
            </a:extLst>
          </p:cNvPr>
          <p:cNvSpPr>
            <a:spLocks noGrp="1"/>
          </p:cNvSpPr>
          <p:nvPr>
            <p:ph type="ftr" sz="quarter" idx="15"/>
          </p:nvPr>
        </p:nvSpPr>
        <p:spPr>
          <a:xfrm>
            <a:off x="8023512" y="6473323"/>
            <a:ext cx="3022313" cy="207393"/>
          </a:xfrm>
        </p:spPr>
        <p:txBody>
          <a:bodyPr anchor="t"/>
          <a:lstStyle/>
          <a:p>
            <a:r>
              <a:rPr lang="en-GB"/>
              <a:t>Slide footer </a:t>
            </a:r>
          </a:p>
        </p:txBody>
      </p:sp>
      <p:sp>
        <p:nvSpPr>
          <p:cNvPr id="5" name="Slide Number Placeholder 4">
            <a:extLst>
              <a:ext uri="{FF2B5EF4-FFF2-40B4-BE49-F238E27FC236}">
                <a16:creationId xmlns:a16="http://schemas.microsoft.com/office/drawing/2014/main" id="{A1439660-13FC-80EC-B909-6A13C5AC3A17}"/>
              </a:ext>
            </a:extLst>
          </p:cNvPr>
          <p:cNvSpPr>
            <a:spLocks noGrp="1"/>
          </p:cNvSpPr>
          <p:nvPr>
            <p:ph type="sldNum" sz="quarter" idx="16"/>
          </p:nvPr>
        </p:nvSpPr>
        <p:spPr/>
        <p:txBody>
          <a:bodyPr/>
          <a:lstStyle/>
          <a:p>
            <a:fld id="{24FD2396-7F2C-D741-B592-F93892A44B62}" type="slidenum">
              <a:rPr lang="en-GB" smtClean="0"/>
              <a:pPr/>
              <a:t>‹#›</a:t>
            </a:fld>
            <a:endParaRPr lang="en-GB"/>
          </a:p>
        </p:txBody>
      </p:sp>
    </p:spTree>
    <p:extLst>
      <p:ext uri="{BB962C8B-B14F-4D97-AF65-F5344CB8AC3E}">
        <p14:creationId xmlns:p14="http://schemas.microsoft.com/office/powerpoint/2010/main" val="23579243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maller Title and Heavy Conten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A455BF96-EDC6-BF1D-9B02-8D224416D8B2}"/>
              </a:ext>
            </a:extLst>
          </p:cNvPr>
          <p:cNvSpPr>
            <a:spLocks noGrp="1"/>
          </p:cNvSpPr>
          <p:nvPr>
            <p:ph idx="1"/>
          </p:nvPr>
        </p:nvSpPr>
        <p:spPr>
          <a:xfrm>
            <a:off x="381000" y="1520825"/>
            <a:ext cx="11433175" cy="4575175"/>
          </a:xfrm>
        </p:spPr>
        <p:txBody>
          <a:bodyPr>
            <a:normAutofit/>
          </a:bodyPr>
          <a:lstStyle>
            <a:lvl1pPr>
              <a:defRPr sz="1200"/>
            </a:lvl1pPr>
            <a:lvl2pPr>
              <a:defRPr sz="1200"/>
            </a:lvl2pPr>
            <a:lvl3pPr>
              <a:defRPr sz="1100"/>
            </a:lvl3pPr>
            <a:lvl4pPr>
              <a:defRPr sz="1100"/>
            </a:lvl4pPr>
            <a:lvl5pPr>
              <a:defRPr sz="1100"/>
            </a:lvl5pPr>
            <a:lvl6pPr>
              <a:defRPr sz="1100"/>
            </a:lvl6pPr>
            <a:lvl7pPr>
              <a:defRPr sz="1100"/>
            </a:lvl7pPr>
            <a:lvl8pPr>
              <a:defRPr sz="1100"/>
            </a:lvl8pPr>
            <a:lvl9pPr>
              <a:defRPr sz="1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2" name="Title 1">
            <a:extLst>
              <a:ext uri="{FF2B5EF4-FFF2-40B4-BE49-F238E27FC236}">
                <a16:creationId xmlns:a16="http://schemas.microsoft.com/office/drawing/2014/main" id="{28B7ABED-858C-78E9-F77A-0E04D5A3A79F}"/>
              </a:ext>
            </a:extLst>
          </p:cNvPr>
          <p:cNvSpPr>
            <a:spLocks noGrp="1"/>
          </p:cNvSpPr>
          <p:nvPr>
            <p:ph type="title"/>
          </p:nvPr>
        </p:nvSpPr>
        <p:spPr>
          <a:xfrm>
            <a:off x="381000" y="346076"/>
            <a:ext cx="11433175" cy="249299"/>
          </a:xfrm>
        </p:spPr>
        <p:txBody>
          <a:bodyPr/>
          <a:lstStyle>
            <a:lvl1pPr>
              <a:defRPr sz="1800"/>
            </a:lvl1pPr>
          </a:lstStyle>
          <a:p>
            <a:r>
              <a:rPr lang="en-GB"/>
              <a:t>Click to edit Master title style</a:t>
            </a:r>
            <a:endParaRPr lang="en-US"/>
          </a:p>
        </p:txBody>
      </p:sp>
      <p:sp>
        <p:nvSpPr>
          <p:cNvPr id="9" name="Text Placeholder 8">
            <a:extLst>
              <a:ext uri="{FF2B5EF4-FFF2-40B4-BE49-F238E27FC236}">
                <a16:creationId xmlns:a16="http://schemas.microsoft.com/office/drawing/2014/main" id="{466FCA43-77DF-722B-163B-1D14E251AA78}"/>
              </a:ext>
            </a:extLst>
          </p:cNvPr>
          <p:cNvSpPr>
            <a:spLocks noGrp="1"/>
          </p:cNvSpPr>
          <p:nvPr>
            <p:ph type="body" sz="quarter" idx="14" hasCustomPrompt="1"/>
          </p:nvPr>
        </p:nvSpPr>
        <p:spPr>
          <a:xfrm>
            <a:off x="766763" y="6473323"/>
            <a:ext cx="6853237" cy="207393"/>
          </a:xfrm>
        </p:spPr>
        <p:txBody>
          <a:bodyPr anchor="t">
            <a:noAutofit/>
          </a:bodyPr>
          <a:lstStyle>
            <a:lvl1pPr marL="0" indent="0">
              <a:spcBef>
                <a:spcPts val="0"/>
              </a:spcBef>
              <a:spcAft>
                <a:spcPts val="0"/>
              </a:spcAft>
              <a:buNone/>
              <a:defRPr lang="en-GB" sz="800" i="0" smtClean="0">
                <a:solidFill>
                  <a:schemeClr val="bg2"/>
                </a:solidFill>
                <a:effectLst/>
              </a:defRPr>
            </a:lvl1pPr>
            <a:lvl2pPr>
              <a:defRPr sz="1200" b="1">
                <a:solidFill>
                  <a:schemeClr val="bg1">
                    <a:lumMod val="50000"/>
                  </a:schemeClr>
                </a:solidFill>
              </a:defRPr>
            </a:lvl2pPr>
            <a:lvl3pPr>
              <a:defRPr sz="1200" b="1">
                <a:solidFill>
                  <a:schemeClr val="bg1">
                    <a:lumMod val="50000"/>
                  </a:schemeClr>
                </a:solidFill>
              </a:defRPr>
            </a:lvl3pPr>
            <a:lvl4pPr>
              <a:defRPr sz="1200" b="1">
                <a:solidFill>
                  <a:schemeClr val="bg1">
                    <a:lumMod val="50000"/>
                  </a:schemeClr>
                </a:solidFill>
              </a:defRPr>
            </a:lvl4pPr>
            <a:lvl5pPr>
              <a:defRPr sz="1200" b="1">
                <a:solidFill>
                  <a:schemeClr val="bg1">
                    <a:lumMod val="50000"/>
                  </a:schemeClr>
                </a:solidFill>
              </a:defRPr>
            </a:lvl5pPr>
          </a:lstStyle>
          <a:p>
            <a:pPr lvl="0"/>
            <a:r>
              <a:rPr lang="en-GB"/>
              <a:t>Notes: [Note information]      Source: [1. Source information 2. Source information]</a:t>
            </a:r>
          </a:p>
        </p:txBody>
      </p:sp>
      <p:sp>
        <p:nvSpPr>
          <p:cNvPr id="4" name="Footer Placeholder 3">
            <a:extLst>
              <a:ext uri="{FF2B5EF4-FFF2-40B4-BE49-F238E27FC236}">
                <a16:creationId xmlns:a16="http://schemas.microsoft.com/office/drawing/2014/main" id="{F4329558-1E8F-31C3-585C-8B886DB86FE1}"/>
              </a:ext>
            </a:extLst>
          </p:cNvPr>
          <p:cNvSpPr>
            <a:spLocks noGrp="1"/>
          </p:cNvSpPr>
          <p:nvPr>
            <p:ph type="ftr" sz="quarter" idx="15"/>
          </p:nvPr>
        </p:nvSpPr>
        <p:spPr>
          <a:xfrm>
            <a:off x="8023512" y="6473323"/>
            <a:ext cx="3022313" cy="207393"/>
          </a:xfrm>
        </p:spPr>
        <p:txBody>
          <a:bodyPr anchor="t"/>
          <a:lstStyle/>
          <a:p>
            <a:r>
              <a:rPr lang="en-GB"/>
              <a:t>Slide footer </a:t>
            </a:r>
          </a:p>
        </p:txBody>
      </p:sp>
      <p:sp>
        <p:nvSpPr>
          <p:cNvPr id="5" name="Slide Number Placeholder 4">
            <a:extLst>
              <a:ext uri="{FF2B5EF4-FFF2-40B4-BE49-F238E27FC236}">
                <a16:creationId xmlns:a16="http://schemas.microsoft.com/office/drawing/2014/main" id="{A1439660-13FC-80EC-B909-6A13C5AC3A17}"/>
              </a:ext>
            </a:extLst>
          </p:cNvPr>
          <p:cNvSpPr>
            <a:spLocks noGrp="1"/>
          </p:cNvSpPr>
          <p:nvPr>
            <p:ph type="sldNum" sz="quarter" idx="16"/>
          </p:nvPr>
        </p:nvSpPr>
        <p:spPr/>
        <p:txBody>
          <a:bodyPr/>
          <a:lstStyle/>
          <a:p>
            <a:fld id="{24FD2396-7F2C-D741-B592-F93892A44B62}" type="slidenum">
              <a:rPr lang="en-GB" smtClean="0"/>
              <a:pPr/>
              <a:t>‹#›</a:t>
            </a:fld>
            <a:endParaRPr lang="en-GB"/>
          </a:p>
        </p:txBody>
      </p:sp>
    </p:spTree>
    <p:extLst>
      <p:ext uri="{BB962C8B-B14F-4D97-AF65-F5344CB8AC3E}">
        <p14:creationId xmlns:p14="http://schemas.microsoft.com/office/powerpoint/2010/main" val="76104553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A455BF96-EDC6-BF1D-9B02-8D224416D8B2}"/>
              </a:ext>
            </a:extLst>
          </p:cNvPr>
          <p:cNvSpPr>
            <a:spLocks noGrp="1"/>
          </p:cNvSpPr>
          <p:nvPr>
            <p:ph idx="1"/>
          </p:nvPr>
        </p:nvSpPr>
        <p:spPr>
          <a:xfrm>
            <a:off x="381001" y="1520824"/>
            <a:ext cx="5715000" cy="457517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12" name="Content Placeholder 2">
            <a:extLst>
              <a:ext uri="{FF2B5EF4-FFF2-40B4-BE49-F238E27FC236}">
                <a16:creationId xmlns:a16="http://schemas.microsoft.com/office/drawing/2014/main" id="{89006929-E4A0-6ED9-0FE4-9F5BC06F65E8}"/>
              </a:ext>
            </a:extLst>
          </p:cNvPr>
          <p:cNvSpPr>
            <a:spLocks noGrp="1"/>
          </p:cNvSpPr>
          <p:nvPr>
            <p:ph idx="18"/>
          </p:nvPr>
        </p:nvSpPr>
        <p:spPr>
          <a:xfrm>
            <a:off x="6096000" y="1520825"/>
            <a:ext cx="5718175" cy="45751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2" name="Title 1">
            <a:extLst>
              <a:ext uri="{FF2B5EF4-FFF2-40B4-BE49-F238E27FC236}">
                <a16:creationId xmlns:a16="http://schemas.microsoft.com/office/drawing/2014/main" id="{88CE2DDE-F29D-BD19-2082-9F1EA00AA8CC}"/>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2F9927AA-2F79-1700-14A1-2B75B8942507}"/>
              </a:ext>
            </a:extLst>
          </p:cNvPr>
          <p:cNvSpPr>
            <a:spLocks noGrp="1"/>
          </p:cNvSpPr>
          <p:nvPr>
            <p:ph type="ftr" sz="quarter" idx="19"/>
          </p:nvPr>
        </p:nvSpPr>
        <p:spPr/>
        <p:txBody>
          <a:bodyPr/>
          <a:lstStyle/>
          <a:p>
            <a:r>
              <a:rPr lang="en-GB"/>
              <a:t>Slide footer </a:t>
            </a:r>
          </a:p>
        </p:txBody>
      </p:sp>
      <p:sp>
        <p:nvSpPr>
          <p:cNvPr id="5" name="Slide Number Placeholder 4">
            <a:extLst>
              <a:ext uri="{FF2B5EF4-FFF2-40B4-BE49-F238E27FC236}">
                <a16:creationId xmlns:a16="http://schemas.microsoft.com/office/drawing/2014/main" id="{640BFCB2-D81B-0419-356B-F2C32CA2489C}"/>
              </a:ext>
            </a:extLst>
          </p:cNvPr>
          <p:cNvSpPr>
            <a:spLocks noGrp="1"/>
          </p:cNvSpPr>
          <p:nvPr>
            <p:ph type="sldNum" sz="quarter" idx="20"/>
          </p:nvPr>
        </p:nvSpPr>
        <p:spPr/>
        <p:txBody>
          <a:bodyPr/>
          <a:lstStyle/>
          <a:p>
            <a:fld id="{24FD2396-7F2C-D741-B592-F93892A44B62}" type="slidenum">
              <a:rPr lang="en-GB" smtClean="0"/>
              <a:pPr/>
              <a:t>‹#›</a:t>
            </a:fld>
            <a:endParaRPr lang="en-GB"/>
          </a:p>
        </p:txBody>
      </p:sp>
      <p:sp>
        <p:nvSpPr>
          <p:cNvPr id="9" name="Text Placeholder 8">
            <a:extLst>
              <a:ext uri="{FF2B5EF4-FFF2-40B4-BE49-F238E27FC236}">
                <a16:creationId xmlns:a16="http://schemas.microsoft.com/office/drawing/2014/main" id="{1F68E042-FE89-F067-7586-5D16E64C5826}"/>
              </a:ext>
            </a:extLst>
          </p:cNvPr>
          <p:cNvSpPr>
            <a:spLocks noGrp="1"/>
          </p:cNvSpPr>
          <p:nvPr>
            <p:ph type="body" sz="quarter" idx="14" hasCustomPrompt="1"/>
          </p:nvPr>
        </p:nvSpPr>
        <p:spPr>
          <a:xfrm>
            <a:off x="766763" y="6473323"/>
            <a:ext cx="6853237" cy="207393"/>
          </a:xfrm>
        </p:spPr>
        <p:txBody>
          <a:bodyPr vert="horz" lIns="0" tIns="0" rIns="0" bIns="0" rtlCol="0" anchor="t">
            <a:noAutofit/>
          </a:bodyPr>
          <a:lstStyle>
            <a:lvl1pPr marL="0" indent="0">
              <a:buNone/>
              <a:defRPr lang="en-GB" sz="800" i="0" dirty="0">
                <a:solidFill>
                  <a:schemeClr val="bg2"/>
                </a:solidFill>
                <a:effectLst/>
              </a:defRPr>
            </a:lvl1pPr>
          </a:lstStyle>
          <a:p>
            <a:pPr lvl="0">
              <a:spcBef>
                <a:spcPts val="0"/>
              </a:spcBef>
              <a:spcAft>
                <a:spcPts val="0"/>
              </a:spcAft>
            </a:pPr>
            <a:r>
              <a:rPr lang="en-GB"/>
              <a:t>Notes: [Note information]      Source: [1. Source information 2. Source information]</a:t>
            </a:r>
          </a:p>
        </p:txBody>
      </p:sp>
    </p:spTree>
    <p:extLst>
      <p:ext uri="{BB962C8B-B14F-4D97-AF65-F5344CB8AC3E}">
        <p14:creationId xmlns:p14="http://schemas.microsoft.com/office/powerpoint/2010/main" val="47289166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3583E-CA67-3E60-741D-66E95D6DC067}"/>
              </a:ext>
            </a:extLst>
          </p:cNvPr>
          <p:cNvSpPr>
            <a:spLocks noGrp="1"/>
          </p:cNvSpPr>
          <p:nvPr>
            <p:ph type="title"/>
          </p:nvPr>
        </p:nvSpPr>
        <p:spPr/>
        <p:txBody>
          <a:bodyPr/>
          <a:lstStyle/>
          <a:p>
            <a:r>
              <a:rPr lang="en-GB"/>
              <a:t>Click to edit Master title style</a:t>
            </a:r>
            <a:endParaRPr lang="en-US"/>
          </a:p>
        </p:txBody>
      </p:sp>
      <p:sp>
        <p:nvSpPr>
          <p:cNvPr id="9" name="Content Placeholder 2">
            <a:extLst>
              <a:ext uri="{FF2B5EF4-FFF2-40B4-BE49-F238E27FC236}">
                <a16:creationId xmlns:a16="http://schemas.microsoft.com/office/drawing/2014/main" id="{B2574CD6-B9D1-03FD-108D-5EF6C7B74BAF}"/>
              </a:ext>
            </a:extLst>
          </p:cNvPr>
          <p:cNvSpPr>
            <a:spLocks noGrp="1"/>
          </p:cNvSpPr>
          <p:nvPr>
            <p:ph idx="1"/>
          </p:nvPr>
        </p:nvSpPr>
        <p:spPr>
          <a:xfrm>
            <a:off x="381001" y="1520824"/>
            <a:ext cx="3805237" cy="457517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11" name="Content Placeholder 2">
            <a:extLst>
              <a:ext uri="{FF2B5EF4-FFF2-40B4-BE49-F238E27FC236}">
                <a16:creationId xmlns:a16="http://schemas.microsoft.com/office/drawing/2014/main" id="{85D5C64D-ABE1-F69F-8084-B1D967514877}"/>
              </a:ext>
            </a:extLst>
          </p:cNvPr>
          <p:cNvSpPr>
            <a:spLocks noGrp="1"/>
          </p:cNvSpPr>
          <p:nvPr>
            <p:ph idx="10"/>
          </p:nvPr>
        </p:nvSpPr>
        <p:spPr>
          <a:xfrm>
            <a:off x="4195012" y="1520824"/>
            <a:ext cx="3805237" cy="457517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13" name="Content Placeholder 2">
            <a:extLst>
              <a:ext uri="{FF2B5EF4-FFF2-40B4-BE49-F238E27FC236}">
                <a16:creationId xmlns:a16="http://schemas.microsoft.com/office/drawing/2014/main" id="{C682A2B2-8D08-1E3E-961D-C35BA610D76A}"/>
              </a:ext>
            </a:extLst>
          </p:cNvPr>
          <p:cNvSpPr>
            <a:spLocks noGrp="1"/>
          </p:cNvSpPr>
          <p:nvPr>
            <p:ph idx="11"/>
          </p:nvPr>
        </p:nvSpPr>
        <p:spPr>
          <a:xfrm>
            <a:off x="8009023" y="1520824"/>
            <a:ext cx="3805237" cy="457517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4" name="Footer Placeholder 3">
            <a:extLst>
              <a:ext uri="{FF2B5EF4-FFF2-40B4-BE49-F238E27FC236}">
                <a16:creationId xmlns:a16="http://schemas.microsoft.com/office/drawing/2014/main" id="{3EFB6702-66C2-029C-D4A7-1FA36327302B}"/>
              </a:ext>
            </a:extLst>
          </p:cNvPr>
          <p:cNvSpPr>
            <a:spLocks noGrp="1"/>
          </p:cNvSpPr>
          <p:nvPr>
            <p:ph type="ftr" sz="quarter" idx="12"/>
          </p:nvPr>
        </p:nvSpPr>
        <p:spPr/>
        <p:txBody>
          <a:bodyPr/>
          <a:lstStyle/>
          <a:p>
            <a:r>
              <a:rPr lang="en-GB"/>
              <a:t>Slide footer </a:t>
            </a:r>
          </a:p>
        </p:txBody>
      </p:sp>
      <p:sp>
        <p:nvSpPr>
          <p:cNvPr id="5" name="Slide Number Placeholder 4">
            <a:extLst>
              <a:ext uri="{FF2B5EF4-FFF2-40B4-BE49-F238E27FC236}">
                <a16:creationId xmlns:a16="http://schemas.microsoft.com/office/drawing/2014/main" id="{084024B5-C290-3CD4-74F9-13867E5D5FBC}"/>
              </a:ext>
            </a:extLst>
          </p:cNvPr>
          <p:cNvSpPr>
            <a:spLocks noGrp="1"/>
          </p:cNvSpPr>
          <p:nvPr>
            <p:ph type="sldNum" sz="quarter" idx="13"/>
          </p:nvPr>
        </p:nvSpPr>
        <p:spPr/>
        <p:txBody>
          <a:bodyPr/>
          <a:lstStyle/>
          <a:p>
            <a:fld id="{24FD2396-7F2C-D741-B592-F93892A44B62}" type="slidenum">
              <a:rPr lang="en-GB" smtClean="0"/>
              <a:pPr/>
              <a:t>‹#›</a:t>
            </a:fld>
            <a:endParaRPr lang="en-GB"/>
          </a:p>
        </p:txBody>
      </p:sp>
      <p:sp>
        <p:nvSpPr>
          <p:cNvPr id="10" name="Text Placeholder 8">
            <a:extLst>
              <a:ext uri="{FF2B5EF4-FFF2-40B4-BE49-F238E27FC236}">
                <a16:creationId xmlns:a16="http://schemas.microsoft.com/office/drawing/2014/main" id="{07BA6189-1C3F-13A6-0B8A-9EE240A9C6C1}"/>
              </a:ext>
            </a:extLst>
          </p:cNvPr>
          <p:cNvSpPr>
            <a:spLocks noGrp="1"/>
          </p:cNvSpPr>
          <p:nvPr>
            <p:ph type="body" sz="quarter" idx="14" hasCustomPrompt="1"/>
          </p:nvPr>
        </p:nvSpPr>
        <p:spPr>
          <a:xfrm>
            <a:off x="766763" y="6473323"/>
            <a:ext cx="6853237" cy="207393"/>
          </a:xfrm>
        </p:spPr>
        <p:txBody>
          <a:bodyPr vert="horz" lIns="0" tIns="0" rIns="0" bIns="0" rtlCol="0" anchor="t">
            <a:noAutofit/>
          </a:bodyPr>
          <a:lstStyle>
            <a:lvl1pPr marL="0" indent="0">
              <a:buNone/>
              <a:defRPr lang="en-GB" sz="800" i="0" dirty="0">
                <a:solidFill>
                  <a:schemeClr val="bg2"/>
                </a:solidFill>
                <a:effectLst/>
              </a:defRPr>
            </a:lvl1pPr>
          </a:lstStyle>
          <a:p>
            <a:pPr lvl="0">
              <a:spcBef>
                <a:spcPts val="0"/>
              </a:spcBef>
              <a:spcAft>
                <a:spcPts val="0"/>
              </a:spcAft>
            </a:pPr>
            <a:r>
              <a:rPr lang="en-GB"/>
              <a:t>Notes: [Note information]      Source: [1. Source information 2. Source information]</a:t>
            </a:r>
          </a:p>
        </p:txBody>
      </p:sp>
    </p:spTree>
    <p:extLst>
      <p:ext uri="{BB962C8B-B14F-4D97-AF65-F5344CB8AC3E}">
        <p14:creationId xmlns:p14="http://schemas.microsoft.com/office/powerpoint/2010/main" val="136130438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D63E4C-73E5-F2C0-46E5-9F6E5698D496}"/>
              </a:ext>
            </a:extLst>
          </p:cNvPr>
          <p:cNvSpPr>
            <a:spLocks noGrp="1"/>
          </p:cNvSpPr>
          <p:nvPr>
            <p:ph type="title"/>
          </p:nvPr>
        </p:nvSpPr>
        <p:spPr/>
        <p:txBody>
          <a:bodyPr/>
          <a:lstStyle/>
          <a:p>
            <a:r>
              <a:rPr lang="en-GB"/>
              <a:t>Click to edit Master title style</a:t>
            </a:r>
            <a:endParaRPr lang="en-US"/>
          </a:p>
        </p:txBody>
      </p:sp>
      <p:sp>
        <p:nvSpPr>
          <p:cNvPr id="10" name="Content Placeholder 2">
            <a:extLst>
              <a:ext uri="{FF2B5EF4-FFF2-40B4-BE49-F238E27FC236}">
                <a16:creationId xmlns:a16="http://schemas.microsoft.com/office/drawing/2014/main" id="{1C34D408-398F-C72B-F03A-37005DF9213F}"/>
              </a:ext>
            </a:extLst>
          </p:cNvPr>
          <p:cNvSpPr>
            <a:spLocks noGrp="1"/>
          </p:cNvSpPr>
          <p:nvPr>
            <p:ph idx="1"/>
          </p:nvPr>
        </p:nvSpPr>
        <p:spPr>
          <a:xfrm>
            <a:off x="381001" y="1520824"/>
            <a:ext cx="2666999" cy="457517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12" name="Content Placeholder 2">
            <a:extLst>
              <a:ext uri="{FF2B5EF4-FFF2-40B4-BE49-F238E27FC236}">
                <a16:creationId xmlns:a16="http://schemas.microsoft.com/office/drawing/2014/main" id="{736E449F-2845-97F0-97D0-859897E2AA88}"/>
              </a:ext>
            </a:extLst>
          </p:cNvPr>
          <p:cNvSpPr>
            <a:spLocks noGrp="1"/>
          </p:cNvSpPr>
          <p:nvPr>
            <p:ph idx="18"/>
          </p:nvPr>
        </p:nvSpPr>
        <p:spPr>
          <a:xfrm>
            <a:off x="6223141" y="1520825"/>
            <a:ext cx="2668481" cy="45751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18" name="Content Placeholder 2">
            <a:extLst>
              <a:ext uri="{FF2B5EF4-FFF2-40B4-BE49-F238E27FC236}">
                <a16:creationId xmlns:a16="http://schemas.microsoft.com/office/drawing/2014/main" id="{6A58496A-23A3-2FDF-6015-7936DA8FD839}"/>
              </a:ext>
            </a:extLst>
          </p:cNvPr>
          <p:cNvSpPr>
            <a:spLocks noGrp="1"/>
          </p:cNvSpPr>
          <p:nvPr>
            <p:ph idx="21"/>
          </p:nvPr>
        </p:nvSpPr>
        <p:spPr>
          <a:xfrm>
            <a:off x="3302071" y="1520824"/>
            <a:ext cx="2666999" cy="457517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19" name="Content Placeholder 2">
            <a:extLst>
              <a:ext uri="{FF2B5EF4-FFF2-40B4-BE49-F238E27FC236}">
                <a16:creationId xmlns:a16="http://schemas.microsoft.com/office/drawing/2014/main" id="{37FA006E-A71F-1B09-7B88-7CAFA0D6671C}"/>
              </a:ext>
            </a:extLst>
          </p:cNvPr>
          <p:cNvSpPr>
            <a:spLocks noGrp="1"/>
          </p:cNvSpPr>
          <p:nvPr>
            <p:ph idx="22"/>
          </p:nvPr>
        </p:nvSpPr>
        <p:spPr>
          <a:xfrm>
            <a:off x="9145694" y="1520825"/>
            <a:ext cx="2668481" cy="45751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11" name="Text Placeholder 8">
            <a:extLst>
              <a:ext uri="{FF2B5EF4-FFF2-40B4-BE49-F238E27FC236}">
                <a16:creationId xmlns:a16="http://schemas.microsoft.com/office/drawing/2014/main" id="{0F488B9A-3A03-E1A4-0BB2-A918BA1FDAD9}"/>
              </a:ext>
            </a:extLst>
          </p:cNvPr>
          <p:cNvSpPr>
            <a:spLocks noGrp="1"/>
          </p:cNvSpPr>
          <p:nvPr>
            <p:ph type="body" sz="quarter" idx="14" hasCustomPrompt="1"/>
          </p:nvPr>
        </p:nvSpPr>
        <p:spPr>
          <a:xfrm>
            <a:off x="766763" y="6473323"/>
            <a:ext cx="6853237" cy="207393"/>
          </a:xfrm>
        </p:spPr>
        <p:txBody>
          <a:bodyPr vert="horz" lIns="0" tIns="0" rIns="0" bIns="0" rtlCol="0" anchor="t">
            <a:noAutofit/>
          </a:bodyPr>
          <a:lstStyle>
            <a:lvl1pPr marL="0" indent="0">
              <a:buNone/>
              <a:defRPr lang="en-GB" sz="800" i="0" dirty="0">
                <a:solidFill>
                  <a:schemeClr val="bg2"/>
                </a:solidFill>
                <a:effectLst/>
              </a:defRPr>
            </a:lvl1pPr>
          </a:lstStyle>
          <a:p>
            <a:pPr lvl="0">
              <a:spcBef>
                <a:spcPts val="0"/>
              </a:spcBef>
              <a:spcAft>
                <a:spcPts val="0"/>
              </a:spcAft>
            </a:pPr>
            <a:r>
              <a:rPr lang="en-GB"/>
              <a:t>Notes: [Note information]      Source: [1. Source information 2. Source information]</a:t>
            </a:r>
          </a:p>
        </p:txBody>
      </p:sp>
      <p:sp>
        <p:nvSpPr>
          <p:cNvPr id="3" name="Footer Placeholder 2">
            <a:extLst>
              <a:ext uri="{FF2B5EF4-FFF2-40B4-BE49-F238E27FC236}">
                <a16:creationId xmlns:a16="http://schemas.microsoft.com/office/drawing/2014/main" id="{E12A40EE-88D4-494D-1839-57827B41BCF4}"/>
              </a:ext>
            </a:extLst>
          </p:cNvPr>
          <p:cNvSpPr>
            <a:spLocks noGrp="1"/>
          </p:cNvSpPr>
          <p:nvPr>
            <p:ph type="ftr" sz="quarter" idx="23"/>
          </p:nvPr>
        </p:nvSpPr>
        <p:spPr/>
        <p:txBody>
          <a:bodyPr/>
          <a:lstStyle/>
          <a:p>
            <a:r>
              <a:rPr lang="en-GB"/>
              <a:t>Slide footer </a:t>
            </a:r>
          </a:p>
        </p:txBody>
      </p:sp>
      <p:sp>
        <p:nvSpPr>
          <p:cNvPr id="6" name="Slide Number Placeholder 5">
            <a:extLst>
              <a:ext uri="{FF2B5EF4-FFF2-40B4-BE49-F238E27FC236}">
                <a16:creationId xmlns:a16="http://schemas.microsoft.com/office/drawing/2014/main" id="{38CE9C7D-3490-DB01-A622-B4CBBE545CEF}"/>
              </a:ext>
            </a:extLst>
          </p:cNvPr>
          <p:cNvSpPr>
            <a:spLocks noGrp="1"/>
          </p:cNvSpPr>
          <p:nvPr>
            <p:ph type="sldNum" sz="quarter" idx="24"/>
          </p:nvPr>
        </p:nvSpPr>
        <p:spPr/>
        <p:txBody>
          <a:bodyPr/>
          <a:lstStyle/>
          <a:p>
            <a:fld id="{24FD2396-7F2C-D741-B592-F93892A44B62}" type="slidenum">
              <a:rPr lang="en-GB" smtClean="0"/>
              <a:pPr/>
              <a:t>‹#›</a:t>
            </a:fld>
            <a:endParaRPr lang="en-GB"/>
          </a:p>
        </p:txBody>
      </p:sp>
    </p:spTree>
    <p:extLst>
      <p:ext uri="{BB962C8B-B14F-4D97-AF65-F5344CB8AC3E}">
        <p14:creationId xmlns:p14="http://schemas.microsoft.com/office/powerpoint/2010/main" val="91050853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D63E4C-73E5-F2C0-46E5-9F6E5698D496}"/>
              </a:ext>
            </a:extLst>
          </p:cNvPr>
          <p:cNvSpPr>
            <a:spLocks noGrp="1"/>
          </p:cNvSpPr>
          <p:nvPr>
            <p:ph type="title"/>
          </p:nvPr>
        </p:nvSpPr>
        <p:spPr/>
        <p:txBody>
          <a:bodyPr/>
          <a:lstStyle/>
          <a:p>
            <a:r>
              <a:rPr lang="en-GB"/>
              <a:t>Click to edit Master title style</a:t>
            </a:r>
            <a:endParaRPr lang="en-US"/>
          </a:p>
        </p:txBody>
      </p:sp>
      <p:sp>
        <p:nvSpPr>
          <p:cNvPr id="10" name="Content Placeholder 2">
            <a:extLst>
              <a:ext uri="{FF2B5EF4-FFF2-40B4-BE49-F238E27FC236}">
                <a16:creationId xmlns:a16="http://schemas.microsoft.com/office/drawing/2014/main" id="{1C34D408-398F-C72B-F03A-37005DF9213F}"/>
              </a:ext>
            </a:extLst>
          </p:cNvPr>
          <p:cNvSpPr>
            <a:spLocks noGrp="1"/>
          </p:cNvSpPr>
          <p:nvPr>
            <p:ph idx="1"/>
          </p:nvPr>
        </p:nvSpPr>
        <p:spPr>
          <a:xfrm>
            <a:off x="381001" y="1520824"/>
            <a:ext cx="2666999" cy="228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endParaRPr lang="en-GB"/>
          </a:p>
        </p:txBody>
      </p:sp>
      <p:sp>
        <p:nvSpPr>
          <p:cNvPr id="12" name="Content Placeholder 2">
            <a:extLst>
              <a:ext uri="{FF2B5EF4-FFF2-40B4-BE49-F238E27FC236}">
                <a16:creationId xmlns:a16="http://schemas.microsoft.com/office/drawing/2014/main" id="{736E449F-2845-97F0-97D0-859897E2AA88}"/>
              </a:ext>
            </a:extLst>
          </p:cNvPr>
          <p:cNvSpPr>
            <a:spLocks noGrp="1"/>
          </p:cNvSpPr>
          <p:nvPr>
            <p:ph idx="18"/>
          </p:nvPr>
        </p:nvSpPr>
        <p:spPr>
          <a:xfrm>
            <a:off x="6223141" y="1520826"/>
            <a:ext cx="2668481" cy="228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endParaRPr lang="en-GB"/>
          </a:p>
        </p:txBody>
      </p:sp>
      <p:sp>
        <p:nvSpPr>
          <p:cNvPr id="18" name="Content Placeholder 2">
            <a:extLst>
              <a:ext uri="{FF2B5EF4-FFF2-40B4-BE49-F238E27FC236}">
                <a16:creationId xmlns:a16="http://schemas.microsoft.com/office/drawing/2014/main" id="{6A58496A-23A3-2FDF-6015-7936DA8FD839}"/>
              </a:ext>
            </a:extLst>
          </p:cNvPr>
          <p:cNvSpPr>
            <a:spLocks noGrp="1"/>
          </p:cNvSpPr>
          <p:nvPr>
            <p:ph idx="21"/>
          </p:nvPr>
        </p:nvSpPr>
        <p:spPr>
          <a:xfrm>
            <a:off x="3302071" y="1520824"/>
            <a:ext cx="2666999" cy="228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endParaRPr lang="en-GB"/>
          </a:p>
        </p:txBody>
      </p:sp>
      <p:sp>
        <p:nvSpPr>
          <p:cNvPr id="19" name="Content Placeholder 2">
            <a:extLst>
              <a:ext uri="{FF2B5EF4-FFF2-40B4-BE49-F238E27FC236}">
                <a16:creationId xmlns:a16="http://schemas.microsoft.com/office/drawing/2014/main" id="{37FA006E-A71F-1B09-7B88-7CAFA0D6671C}"/>
              </a:ext>
            </a:extLst>
          </p:cNvPr>
          <p:cNvSpPr>
            <a:spLocks noGrp="1"/>
          </p:cNvSpPr>
          <p:nvPr>
            <p:ph idx="22"/>
          </p:nvPr>
        </p:nvSpPr>
        <p:spPr>
          <a:xfrm>
            <a:off x="9145694" y="1520826"/>
            <a:ext cx="2668481" cy="228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endParaRPr lang="en-GB"/>
          </a:p>
        </p:txBody>
      </p:sp>
      <p:sp>
        <p:nvSpPr>
          <p:cNvPr id="21" name="Content Placeholder 2">
            <a:extLst>
              <a:ext uri="{FF2B5EF4-FFF2-40B4-BE49-F238E27FC236}">
                <a16:creationId xmlns:a16="http://schemas.microsoft.com/office/drawing/2014/main" id="{F65A3327-315F-DAC9-E0F7-C8B8F58F7457}"/>
              </a:ext>
            </a:extLst>
          </p:cNvPr>
          <p:cNvSpPr>
            <a:spLocks noGrp="1"/>
          </p:cNvSpPr>
          <p:nvPr>
            <p:ph idx="23"/>
          </p:nvPr>
        </p:nvSpPr>
        <p:spPr>
          <a:xfrm>
            <a:off x="381001" y="3821513"/>
            <a:ext cx="2666999" cy="228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endParaRPr lang="en-GB"/>
          </a:p>
        </p:txBody>
      </p:sp>
      <p:sp>
        <p:nvSpPr>
          <p:cNvPr id="22" name="Content Placeholder 2">
            <a:extLst>
              <a:ext uri="{FF2B5EF4-FFF2-40B4-BE49-F238E27FC236}">
                <a16:creationId xmlns:a16="http://schemas.microsoft.com/office/drawing/2014/main" id="{48A30A48-7B4C-FEE8-E94C-78D00ECD2F8E}"/>
              </a:ext>
            </a:extLst>
          </p:cNvPr>
          <p:cNvSpPr>
            <a:spLocks noGrp="1"/>
          </p:cNvSpPr>
          <p:nvPr>
            <p:ph idx="24"/>
          </p:nvPr>
        </p:nvSpPr>
        <p:spPr>
          <a:xfrm>
            <a:off x="6223141" y="3821515"/>
            <a:ext cx="2668481" cy="228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endParaRPr lang="en-GB"/>
          </a:p>
        </p:txBody>
      </p:sp>
      <p:sp>
        <p:nvSpPr>
          <p:cNvPr id="23" name="Content Placeholder 2">
            <a:extLst>
              <a:ext uri="{FF2B5EF4-FFF2-40B4-BE49-F238E27FC236}">
                <a16:creationId xmlns:a16="http://schemas.microsoft.com/office/drawing/2014/main" id="{0315C3EA-650F-DD95-772B-151ACF4D9A33}"/>
              </a:ext>
            </a:extLst>
          </p:cNvPr>
          <p:cNvSpPr>
            <a:spLocks noGrp="1"/>
          </p:cNvSpPr>
          <p:nvPr>
            <p:ph idx="25"/>
          </p:nvPr>
        </p:nvSpPr>
        <p:spPr>
          <a:xfrm>
            <a:off x="3302071" y="3821513"/>
            <a:ext cx="2666999" cy="228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endParaRPr lang="en-GB"/>
          </a:p>
        </p:txBody>
      </p:sp>
      <p:sp>
        <p:nvSpPr>
          <p:cNvPr id="24" name="Content Placeholder 2">
            <a:extLst>
              <a:ext uri="{FF2B5EF4-FFF2-40B4-BE49-F238E27FC236}">
                <a16:creationId xmlns:a16="http://schemas.microsoft.com/office/drawing/2014/main" id="{6BC3A882-9980-5C02-25B0-3F8AB4F8C449}"/>
              </a:ext>
            </a:extLst>
          </p:cNvPr>
          <p:cNvSpPr>
            <a:spLocks noGrp="1"/>
          </p:cNvSpPr>
          <p:nvPr>
            <p:ph idx="26"/>
          </p:nvPr>
        </p:nvSpPr>
        <p:spPr>
          <a:xfrm>
            <a:off x="9145694" y="3821515"/>
            <a:ext cx="2668481" cy="228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endParaRPr lang="en-GB"/>
          </a:p>
        </p:txBody>
      </p:sp>
      <p:sp>
        <p:nvSpPr>
          <p:cNvPr id="16" name="Text Placeholder 8">
            <a:extLst>
              <a:ext uri="{FF2B5EF4-FFF2-40B4-BE49-F238E27FC236}">
                <a16:creationId xmlns:a16="http://schemas.microsoft.com/office/drawing/2014/main" id="{557A1565-1934-91B7-0F45-CA792F8A2AB5}"/>
              </a:ext>
            </a:extLst>
          </p:cNvPr>
          <p:cNvSpPr>
            <a:spLocks noGrp="1"/>
          </p:cNvSpPr>
          <p:nvPr>
            <p:ph type="body" sz="quarter" idx="14" hasCustomPrompt="1"/>
          </p:nvPr>
        </p:nvSpPr>
        <p:spPr>
          <a:xfrm>
            <a:off x="766763" y="6473323"/>
            <a:ext cx="6853237" cy="207393"/>
          </a:xfrm>
        </p:spPr>
        <p:txBody>
          <a:bodyPr vert="horz" lIns="0" tIns="0" rIns="0" bIns="0" rtlCol="0" anchor="t">
            <a:noAutofit/>
          </a:bodyPr>
          <a:lstStyle>
            <a:lvl1pPr marL="0" indent="0">
              <a:buNone/>
              <a:defRPr lang="en-GB" sz="800" i="0" dirty="0">
                <a:solidFill>
                  <a:schemeClr val="bg2"/>
                </a:solidFill>
                <a:effectLst/>
              </a:defRPr>
            </a:lvl1pPr>
          </a:lstStyle>
          <a:p>
            <a:pPr lvl="0">
              <a:spcBef>
                <a:spcPts val="0"/>
              </a:spcBef>
              <a:spcAft>
                <a:spcPts val="0"/>
              </a:spcAft>
            </a:pPr>
            <a:r>
              <a:rPr lang="en-GB"/>
              <a:t>Notes: [Note information]      Source: [1. Source information 2. Source information]</a:t>
            </a:r>
          </a:p>
        </p:txBody>
      </p:sp>
      <p:sp>
        <p:nvSpPr>
          <p:cNvPr id="3" name="Footer Placeholder 2">
            <a:extLst>
              <a:ext uri="{FF2B5EF4-FFF2-40B4-BE49-F238E27FC236}">
                <a16:creationId xmlns:a16="http://schemas.microsoft.com/office/drawing/2014/main" id="{BC3ADA5F-83B0-F831-622E-AF9405EC6D3E}"/>
              </a:ext>
            </a:extLst>
          </p:cNvPr>
          <p:cNvSpPr>
            <a:spLocks noGrp="1"/>
          </p:cNvSpPr>
          <p:nvPr>
            <p:ph type="ftr" sz="quarter" idx="27"/>
          </p:nvPr>
        </p:nvSpPr>
        <p:spPr/>
        <p:txBody>
          <a:bodyPr/>
          <a:lstStyle/>
          <a:p>
            <a:r>
              <a:rPr lang="en-GB"/>
              <a:t>Slide footer </a:t>
            </a:r>
          </a:p>
        </p:txBody>
      </p:sp>
      <p:sp>
        <p:nvSpPr>
          <p:cNvPr id="4" name="Slide Number Placeholder 3">
            <a:extLst>
              <a:ext uri="{FF2B5EF4-FFF2-40B4-BE49-F238E27FC236}">
                <a16:creationId xmlns:a16="http://schemas.microsoft.com/office/drawing/2014/main" id="{68194DC5-A271-49B7-50DE-8DD9E8D342F5}"/>
              </a:ext>
            </a:extLst>
          </p:cNvPr>
          <p:cNvSpPr>
            <a:spLocks noGrp="1"/>
          </p:cNvSpPr>
          <p:nvPr>
            <p:ph type="sldNum" sz="quarter" idx="28"/>
          </p:nvPr>
        </p:nvSpPr>
        <p:spPr/>
        <p:txBody>
          <a:bodyPr/>
          <a:lstStyle/>
          <a:p>
            <a:fld id="{24FD2396-7F2C-D741-B592-F93892A44B62}" type="slidenum">
              <a:rPr lang="en-GB" smtClean="0"/>
              <a:pPr/>
              <a:t>‹#›</a:t>
            </a:fld>
            <a:endParaRPr lang="en-GB"/>
          </a:p>
        </p:txBody>
      </p:sp>
    </p:spTree>
    <p:extLst>
      <p:ext uri="{BB962C8B-B14F-4D97-AF65-F5344CB8AC3E}">
        <p14:creationId xmlns:p14="http://schemas.microsoft.com/office/powerpoint/2010/main" val="313201436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5DF73-403A-E5DF-FC77-8C4B5E11CC87}"/>
              </a:ext>
            </a:extLst>
          </p:cNvPr>
          <p:cNvSpPr>
            <a:spLocks noGrp="1"/>
          </p:cNvSpPr>
          <p:nvPr>
            <p:ph type="title"/>
          </p:nvPr>
        </p:nvSpPr>
        <p:spPr>
          <a:xfrm>
            <a:off x="379412" y="424453"/>
            <a:ext cx="11433175" cy="387798"/>
          </a:xfrm>
        </p:spPr>
        <p:txBody>
          <a:bodyPr/>
          <a:lstStyle>
            <a:lvl1pPr>
              <a:defRPr sz="2800"/>
            </a:lvl1pPr>
          </a:lstStyle>
          <a:p>
            <a:r>
              <a:rPr lang="en-GB"/>
              <a:t>Click to edit Master title style</a:t>
            </a:r>
            <a:endParaRPr lang="en-US"/>
          </a:p>
        </p:txBody>
      </p:sp>
      <p:sp>
        <p:nvSpPr>
          <p:cNvPr id="6" name="Text Placeholder 8">
            <a:extLst>
              <a:ext uri="{FF2B5EF4-FFF2-40B4-BE49-F238E27FC236}">
                <a16:creationId xmlns:a16="http://schemas.microsoft.com/office/drawing/2014/main" id="{FA89868F-00B0-46DD-E498-83A6C7928E01}"/>
              </a:ext>
            </a:extLst>
          </p:cNvPr>
          <p:cNvSpPr>
            <a:spLocks noGrp="1"/>
          </p:cNvSpPr>
          <p:nvPr>
            <p:ph type="body" sz="quarter" idx="14" hasCustomPrompt="1"/>
          </p:nvPr>
        </p:nvSpPr>
        <p:spPr>
          <a:xfrm>
            <a:off x="1446032" y="6470667"/>
            <a:ext cx="6853237" cy="207393"/>
          </a:xfrm>
        </p:spPr>
        <p:txBody>
          <a:bodyPr vert="horz" lIns="0" tIns="0" rIns="0" bIns="0" rtlCol="0" anchor="t">
            <a:noAutofit/>
          </a:bodyPr>
          <a:lstStyle>
            <a:lvl1pPr marL="0" indent="0">
              <a:buNone/>
              <a:defRPr lang="en-GB" sz="800" i="0" dirty="0">
                <a:solidFill>
                  <a:schemeClr val="bg2"/>
                </a:solidFill>
                <a:effectLst/>
              </a:defRPr>
            </a:lvl1pPr>
          </a:lstStyle>
          <a:p>
            <a:pPr lvl="0">
              <a:spcBef>
                <a:spcPts val="0"/>
              </a:spcBef>
              <a:spcAft>
                <a:spcPts val="0"/>
              </a:spcAft>
            </a:pPr>
            <a:r>
              <a:rPr lang="en-GB"/>
              <a:t>Notes: [Note information]      Source: [1. Source information 2. Source information]</a:t>
            </a:r>
          </a:p>
        </p:txBody>
      </p:sp>
      <p:sp>
        <p:nvSpPr>
          <p:cNvPr id="3" name="Footer Placeholder 2">
            <a:extLst>
              <a:ext uri="{FF2B5EF4-FFF2-40B4-BE49-F238E27FC236}">
                <a16:creationId xmlns:a16="http://schemas.microsoft.com/office/drawing/2014/main" id="{D8F7178B-3B35-36A2-D5AF-3BB6C0E25FC9}"/>
              </a:ext>
            </a:extLst>
          </p:cNvPr>
          <p:cNvSpPr>
            <a:spLocks noGrp="1"/>
          </p:cNvSpPr>
          <p:nvPr>
            <p:ph type="ftr" sz="quarter" idx="15"/>
          </p:nvPr>
        </p:nvSpPr>
        <p:spPr>
          <a:xfrm>
            <a:off x="8581152" y="6470668"/>
            <a:ext cx="2747557" cy="207393"/>
          </a:xfrm>
        </p:spPr>
        <p:txBody>
          <a:bodyPr/>
          <a:lstStyle/>
          <a:p>
            <a:r>
              <a:rPr lang="en-GB"/>
              <a:t>Slide footer </a:t>
            </a:r>
          </a:p>
        </p:txBody>
      </p:sp>
      <p:sp>
        <p:nvSpPr>
          <p:cNvPr id="4" name="Slide Number Placeholder 3">
            <a:extLst>
              <a:ext uri="{FF2B5EF4-FFF2-40B4-BE49-F238E27FC236}">
                <a16:creationId xmlns:a16="http://schemas.microsoft.com/office/drawing/2014/main" id="{6070DE0D-B69C-8040-4CC6-2BBBDD3E0C6A}"/>
              </a:ext>
            </a:extLst>
          </p:cNvPr>
          <p:cNvSpPr>
            <a:spLocks noGrp="1"/>
          </p:cNvSpPr>
          <p:nvPr>
            <p:ph type="sldNum" sz="quarter" idx="16"/>
          </p:nvPr>
        </p:nvSpPr>
        <p:spPr/>
        <p:txBody>
          <a:bodyPr/>
          <a:lstStyle/>
          <a:p>
            <a:fld id="{24FD2396-7F2C-D741-B592-F93892A44B62}" type="slidenum">
              <a:rPr lang="en-GB" smtClean="0"/>
              <a:pPr/>
              <a:t>‹#›</a:t>
            </a:fld>
            <a:endParaRPr lang="en-GB"/>
          </a:p>
        </p:txBody>
      </p:sp>
    </p:spTree>
    <p:extLst>
      <p:ext uri="{BB962C8B-B14F-4D97-AF65-F5344CB8AC3E}">
        <p14:creationId xmlns:p14="http://schemas.microsoft.com/office/powerpoint/2010/main" val="40324721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38" name="Text Placeholder 8">
            <a:extLst>
              <a:ext uri="{FF2B5EF4-FFF2-40B4-BE49-F238E27FC236}">
                <a16:creationId xmlns:a16="http://schemas.microsoft.com/office/drawing/2014/main" id="{D9E37088-ED58-FEAA-EE62-73EE0862DB72}"/>
              </a:ext>
            </a:extLst>
          </p:cNvPr>
          <p:cNvSpPr>
            <a:spLocks noGrp="1"/>
          </p:cNvSpPr>
          <p:nvPr>
            <p:ph type="body" sz="quarter" idx="14" hasCustomPrompt="1"/>
          </p:nvPr>
        </p:nvSpPr>
        <p:spPr>
          <a:xfrm>
            <a:off x="766763" y="6473323"/>
            <a:ext cx="6853237" cy="207393"/>
          </a:xfrm>
        </p:spPr>
        <p:txBody>
          <a:bodyPr vert="horz" lIns="0" tIns="0" rIns="0" bIns="0" rtlCol="0" anchor="t">
            <a:noAutofit/>
          </a:bodyPr>
          <a:lstStyle>
            <a:lvl1pPr marL="0" indent="0">
              <a:buNone/>
              <a:defRPr lang="en-GB" sz="800" i="0" dirty="0">
                <a:solidFill>
                  <a:schemeClr val="bg2"/>
                </a:solidFill>
                <a:effectLst/>
              </a:defRPr>
            </a:lvl1pPr>
          </a:lstStyle>
          <a:p>
            <a:pPr lvl="0">
              <a:spcBef>
                <a:spcPts val="0"/>
              </a:spcBef>
              <a:spcAft>
                <a:spcPts val="0"/>
              </a:spcAft>
            </a:pPr>
            <a:r>
              <a:rPr lang="en-GB"/>
              <a:t>Notes: [Note information]      Source: [1. Source information 2. Source information]</a:t>
            </a:r>
          </a:p>
        </p:txBody>
      </p:sp>
      <p:sp>
        <p:nvSpPr>
          <p:cNvPr id="3" name="Footer Placeholder 2">
            <a:extLst>
              <a:ext uri="{FF2B5EF4-FFF2-40B4-BE49-F238E27FC236}">
                <a16:creationId xmlns:a16="http://schemas.microsoft.com/office/drawing/2014/main" id="{23D7AF74-D098-18CE-1B5F-A3D3BBF2CAB3}"/>
              </a:ext>
            </a:extLst>
          </p:cNvPr>
          <p:cNvSpPr>
            <a:spLocks noGrp="1"/>
          </p:cNvSpPr>
          <p:nvPr>
            <p:ph type="ftr" sz="quarter" idx="15"/>
          </p:nvPr>
        </p:nvSpPr>
        <p:spPr/>
        <p:txBody>
          <a:bodyPr/>
          <a:lstStyle/>
          <a:p>
            <a:r>
              <a:rPr lang="en-GB"/>
              <a:t>Slide footer </a:t>
            </a:r>
          </a:p>
        </p:txBody>
      </p:sp>
      <p:sp>
        <p:nvSpPr>
          <p:cNvPr id="4" name="Slide Number Placeholder 3">
            <a:extLst>
              <a:ext uri="{FF2B5EF4-FFF2-40B4-BE49-F238E27FC236}">
                <a16:creationId xmlns:a16="http://schemas.microsoft.com/office/drawing/2014/main" id="{6D47BF9A-8CA7-0DC7-CE2A-00CFC8286952}"/>
              </a:ext>
            </a:extLst>
          </p:cNvPr>
          <p:cNvSpPr>
            <a:spLocks noGrp="1"/>
          </p:cNvSpPr>
          <p:nvPr>
            <p:ph type="sldNum" sz="quarter" idx="16"/>
          </p:nvPr>
        </p:nvSpPr>
        <p:spPr/>
        <p:txBody>
          <a:bodyPr/>
          <a:lstStyle/>
          <a:p>
            <a:fld id="{24FD2396-7F2C-D741-B592-F93892A44B62}" type="slidenum">
              <a:rPr lang="en-GB" smtClean="0"/>
              <a:pPr/>
              <a:t>‹#›</a:t>
            </a:fld>
            <a:endParaRPr lang="en-GB"/>
          </a:p>
        </p:txBody>
      </p:sp>
    </p:spTree>
    <p:extLst>
      <p:ext uri="{BB962C8B-B14F-4D97-AF65-F5344CB8AC3E}">
        <p14:creationId xmlns:p14="http://schemas.microsoft.com/office/powerpoint/2010/main" val="212617168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0CB69A5-FCC5-F8EB-BCFB-1EDFB96C5AC6}"/>
              </a:ext>
            </a:extLst>
          </p:cNvPr>
          <p:cNvSpPr/>
          <p:nvPr userDrawn="1"/>
        </p:nvSpPr>
        <p:spPr>
          <a:xfrm flipH="1">
            <a:off x="10283824" y="1"/>
            <a:ext cx="190817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icture Placeholder 7">
            <a:extLst>
              <a:ext uri="{FF2B5EF4-FFF2-40B4-BE49-F238E27FC236}">
                <a16:creationId xmlns:a16="http://schemas.microsoft.com/office/drawing/2014/main" id="{3CBF8D5E-697B-5180-F1DA-8A6C4893484B}"/>
              </a:ext>
            </a:extLst>
          </p:cNvPr>
          <p:cNvSpPr>
            <a:spLocks noGrp="1"/>
          </p:cNvSpPr>
          <p:nvPr>
            <p:ph type="pic" sz="quarter" idx="17"/>
          </p:nvPr>
        </p:nvSpPr>
        <p:spPr>
          <a:xfrm>
            <a:off x="7616823" y="-1"/>
            <a:ext cx="3048001" cy="6858000"/>
          </a:xfrm>
          <a:solidFill>
            <a:schemeClr val="tx2"/>
          </a:solidFill>
        </p:spPr>
        <p:txBody>
          <a:bodyPr/>
          <a:lstStyle>
            <a:lvl1pPr>
              <a:defRPr>
                <a:solidFill>
                  <a:schemeClr val="bg1"/>
                </a:solidFill>
              </a:defRPr>
            </a:lvl1pPr>
          </a:lstStyle>
          <a:p>
            <a:endParaRPr lang="en-GB"/>
          </a:p>
        </p:txBody>
      </p:sp>
      <p:sp>
        <p:nvSpPr>
          <p:cNvPr id="10" name="Content Placeholder 2">
            <a:extLst>
              <a:ext uri="{FF2B5EF4-FFF2-40B4-BE49-F238E27FC236}">
                <a16:creationId xmlns:a16="http://schemas.microsoft.com/office/drawing/2014/main" id="{A455BF96-EDC6-BF1D-9B02-8D224416D8B2}"/>
              </a:ext>
            </a:extLst>
          </p:cNvPr>
          <p:cNvSpPr>
            <a:spLocks noGrp="1"/>
          </p:cNvSpPr>
          <p:nvPr>
            <p:ph idx="1"/>
          </p:nvPr>
        </p:nvSpPr>
        <p:spPr>
          <a:xfrm>
            <a:off x="381000" y="1520825"/>
            <a:ext cx="6854825" cy="45751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2" name="Title 1">
            <a:extLst>
              <a:ext uri="{FF2B5EF4-FFF2-40B4-BE49-F238E27FC236}">
                <a16:creationId xmlns:a16="http://schemas.microsoft.com/office/drawing/2014/main" id="{28B7ABED-858C-78E9-F77A-0E04D5A3A79F}"/>
              </a:ext>
            </a:extLst>
          </p:cNvPr>
          <p:cNvSpPr>
            <a:spLocks noGrp="1"/>
          </p:cNvSpPr>
          <p:nvPr>
            <p:ph type="title"/>
          </p:nvPr>
        </p:nvSpPr>
        <p:spPr>
          <a:xfrm>
            <a:off x="381001" y="346076"/>
            <a:ext cx="6854822" cy="762000"/>
          </a:xfrm>
        </p:spPr>
        <p:txBody>
          <a:bodyPr/>
          <a:lstStyle/>
          <a:p>
            <a:r>
              <a:rPr lang="en-GB"/>
              <a:t>Click to edit Master title style</a:t>
            </a:r>
            <a:endParaRPr lang="en-US"/>
          </a:p>
        </p:txBody>
      </p:sp>
      <p:sp>
        <p:nvSpPr>
          <p:cNvPr id="3" name="Footer Placeholder 2">
            <a:extLst>
              <a:ext uri="{FF2B5EF4-FFF2-40B4-BE49-F238E27FC236}">
                <a16:creationId xmlns:a16="http://schemas.microsoft.com/office/drawing/2014/main" id="{0BC9AD53-6B54-AA8D-A37D-53072609CFF2}"/>
              </a:ext>
            </a:extLst>
          </p:cNvPr>
          <p:cNvSpPr>
            <a:spLocks noGrp="1"/>
          </p:cNvSpPr>
          <p:nvPr>
            <p:ph type="ftr" sz="quarter" idx="18"/>
          </p:nvPr>
        </p:nvSpPr>
        <p:spPr/>
        <p:txBody>
          <a:bodyPr/>
          <a:lstStyle>
            <a:lvl1pPr>
              <a:defRPr>
                <a:solidFill>
                  <a:schemeClr val="bg1"/>
                </a:solidFill>
              </a:defRPr>
            </a:lvl1pPr>
          </a:lstStyle>
          <a:p>
            <a:r>
              <a:rPr lang="en-GB"/>
              <a:t>Slide footer </a:t>
            </a:r>
          </a:p>
        </p:txBody>
      </p:sp>
      <p:sp>
        <p:nvSpPr>
          <p:cNvPr id="6" name="Slide Number Placeholder 5">
            <a:extLst>
              <a:ext uri="{FF2B5EF4-FFF2-40B4-BE49-F238E27FC236}">
                <a16:creationId xmlns:a16="http://schemas.microsoft.com/office/drawing/2014/main" id="{48E2CF3A-1E35-FB94-99FF-2EE318327A1D}"/>
              </a:ext>
            </a:extLst>
          </p:cNvPr>
          <p:cNvSpPr>
            <a:spLocks noGrp="1"/>
          </p:cNvSpPr>
          <p:nvPr>
            <p:ph type="sldNum" sz="quarter" idx="19"/>
          </p:nvPr>
        </p:nvSpPr>
        <p:spPr/>
        <p:txBody>
          <a:bodyPr/>
          <a:lstStyle>
            <a:lvl1pPr>
              <a:defRPr>
                <a:solidFill>
                  <a:schemeClr val="bg1"/>
                </a:solidFill>
              </a:defRPr>
            </a:lvl1pPr>
          </a:lstStyle>
          <a:p>
            <a:fld id="{24FD2396-7F2C-D741-B592-F93892A44B62}" type="slidenum">
              <a:rPr lang="en-GB" smtClean="0"/>
              <a:pPr/>
              <a:t>‹#›</a:t>
            </a:fld>
            <a:endParaRPr lang="en-GB"/>
          </a:p>
        </p:txBody>
      </p:sp>
      <p:sp>
        <p:nvSpPr>
          <p:cNvPr id="19" name="Text Placeholder 8">
            <a:extLst>
              <a:ext uri="{FF2B5EF4-FFF2-40B4-BE49-F238E27FC236}">
                <a16:creationId xmlns:a16="http://schemas.microsoft.com/office/drawing/2014/main" id="{BC59C91E-4966-BE3C-8F03-A77A292D65A7}"/>
              </a:ext>
            </a:extLst>
          </p:cNvPr>
          <p:cNvSpPr>
            <a:spLocks noGrp="1"/>
          </p:cNvSpPr>
          <p:nvPr>
            <p:ph type="body" sz="quarter" idx="14" hasCustomPrompt="1"/>
          </p:nvPr>
        </p:nvSpPr>
        <p:spPr>
          <a:xfrm>
            <a:off x="766763" y="6473323"/>
            <a:ext cx="6853237" cy="207393"/>
          </a:xfrm>
        </p:spPr>
        <p:txBody>
          <a:bodyPr vert="horz" lIns="0" tIns="0" rIns="0" bIns="0" rtlCol="0" anchor="t">
            <a:noAutofit/>
          </a:bodyPr>
          <a:lstStyle>
            <a:lvl1pPr marL="0" indent="0">
              <a:buNone/>
              <a:defRPr lang="en-GB" sz="800" i="0" dirty="0">
                <a:solidFill>
                  <a:schemeClr val="bg2"/>
                </a:solidFill>
                <a:effectLst/>
              </a:defRPr>
            </a:lvl1pPr>
          </a:lstStyle>
          <a:p>
            <a:pPr lvl="0">
              <a:spcBef>
                <a:spcPts val="0"/>
              </a:spcBef>
              <a:spcAft>
                <a:spcPts val="0"/>
              </a:spcAft>
            </a:pPr>
            <a:r>
              <a:rPr lang="en-GB"/>
              <a:t>Notes: [Note information]      Source: [1. Source information 2. Source information]</a:t>
            </a:r>
          </a:p>
        </p:txBody>
      </p:sp>
    </p:spTree>
    <p:extLst>
      <p:ext uri="{BB962C8B-B14F-4D97-AF65-F5344CB8AC3E}">
        <p14:creationId xmlns:p14="http://schemas.microsoft.com/office/powerpoint/2010/main" val="1162630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6.png"/><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2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image" Target="../media/image2.pn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1.jpeg"/><Relationship Id="rId5" Type="http://schemas.openxmlformats.org/officeDocument/2006/relationships/slideLayout" Target="../slideLayouts/slideLayout41.xml"/><Relationship Id="rId10" Type="http://schemas.openxmlformats.org/officeDocument/2006/relationships/theme" Target="../theme/theme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theme" Target="../theme/theme7.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slideLayout" Target="../slideLayouts/slideLayout81.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 Id="rId8" Type="http://schemas.openxmlformats.org/officeDocument/2006/relationships/slideLayout" Target="../slideLayouts/slideLayout53.xml"/><Relationship Id="rId3" Type="http://schemas.openxmlformats.org/officeDocument/2006/relationships/slideLayout" Target="../slideLayouts/slideLayout4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oleObject" Target="../embeddings/oleObject1.bin"/><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tags" Target="../tags/tag16.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theme" Target="../theme/theme8.xml"/><Relationship Id="rId30" Type="http://schemas.openxmlformats.org/officeDocument/2006/relationships/image" Target="../media/image2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862BA0B-C1D0-6CD3-1BE4-C07E338CF12C}"/>
              </a:ext>
            </a:extLst>
          </p:cNvPr>
          <p:cNvPicPr>
            <a:picLocks noChangeAspect="1"/>
          </p:cNvPicPr>
          <p:nvPr userDrawn="1"/>
        </p:nvPicPr>
        <p:blipFill rotWithShape="1">
          <a:blip r:embed="rId11" cstate="email">
            <a:extLst>
              <a:ext uri="{28A0092B-C50C-407E-A947-70E740481C1C}">
                <a14:useLocalDpi xmlns:a14="http://schemas.microsoft.com/office/drawing/2010/main"/>
              </a:ext>
            </a:extLst>
          </a:blip>
          <a:srcRect/>
          <a:stretch/>
        </p:blipFill>
        <p:spPr>
          <a:xfrm>
            <a:off x="1166781" y="-30002"/>
            <a:ext cx="11025219" cy="6893341"/>
          </a:xfrm>
          <a:prstGeom prst="rect">
            <a:avLst/>
          </a:prstGeom>
        </p:spPr>
      </p:pic>
      <p:sp>
        <p:nvSpPr>
          <p:cNvPr id="8" name="TextBox 7">
            <a:extLst>
              <a:ext uri="{FF2B5EF4-FFF2-40B4-BE49-F238E27FC236}">
                <a16:creationId xmlns:a16="http://schemas.microsoft.com/office/drawing/2014/main" id="{F44720D3-C783-C008-793A-9034467834E6}"/>
              </a:ext>
            </a:extLst>
          </p:cNvPr>
          <p:cNvSpPr txBox="1"/>
          <p:nvPr userDrawn="1"/>
        </p:nvSpPr>
        <p:spPr>
          <a:xfrm>
            <a:off x="2405270" y="606287"/>
            <a:ext cx="4562061" cy="246221"/>
          </a:xfrm>
          <a:prstGeom prst="rect">
            <a:avLst/>
          </a:prstGeom>
          <a:noFill/>
        </p:spPr>
        <p:txBody>
          <a:bodyPr wrap="square" rtlCol="0">
            <a:spAutoFit/>
          </a:bodyPr>
          <a:lstStyle/>
          <a:p>
            <a:r>
              <a:rPr lang="en-US" sz="1000" b="1" spc="300">
                <a:solidFill>
                  <a:schemeClr val="bg1"/>
                </a:solidFill>
              </a:rPr>
              <a:t>DENVER INTERNATIONAL AIRPORT</a:t>
            </a:r>
          </a:p>
        </p:txBody>
      </p:sp>
      <p:sp>
        <p:nvSpPr>
          <p:cNvPr id="2" name="Trapezoid 6">
            <a:extLst>
              <a:ext uri="{FF2B5EF4-FFF2-40B4-BE49-F238E27FC236}">
                <a16:creationId xmlns:a16="http://schemas.microsoft.com/office/drawing/2014/main" id="{E2D58CF7-912F-0CEF-6620-4A663E786FC8}"/>
              </a:ext>
            </a:extLst>
          </p:cNvPr>
          <p:cNvSpPr/>
          <p:nvPr userDrawn="1"/>
        </p:nvSpPr>
        <p:spPr>
          <a:xfrm>
            <a:off x="0" y="-30002"/>
            <a:ext cx="3319669" cy="6893341"/>
          </a:xfrm>
          <a:custGeom>
            <a:avLst/>
            <a:gdLst>
              <a:gd name="connsiteX0" fmla="*/ 0 w 3985591"/>
              <a:gd name="connsiteY0" fmla="*/ 6997148 h 6997148"/>
              <a:gd name="connsiteX1" fmla="*/ 996398 w 3985591"/>
              <a:gd name="connsiteY1" fmla="*/ 0 h 6997148"/>
              <a:gd name="connsiteX2" fmla="*/ 2989193 w 3985591"/>
              <a:gd name="connsiteY2" fmla="*/ 0 h 6997148"/>
              <a:gd name="connsiteX3" fmla="*/ 3985591 w 3985591"/>
              <a:gd name="connsiteY3" fmla="*/ 6997148 h 6997148"/>
              <a:gd name="connsiteX4" fmla="*/ 0 w 3985591"/>
              <a:gd name="connsiteY4" fmla="*/ 6997148 h 6997148"/>
              <a:gd name="connsiteX0" fmla="*/ 1021245 w 2989193"/>
              <a:gd name="connsiteY0" fmla="*/ 7007087 h 7007087"/>
              <a:gd name="connsiteX1" fmla="*/ 0 w 2989193"/>
              <a:gd name="connsiteY1" fmla="*/ 0 h 7007087"/>
              <a:gd name="connsiteX2" fmla="*/ 1992795 w 2989193"/>
              <a:gd name="connsiteY2" fmla="*/ 0 h 7007087"/>
              <a:gd name="connsiteX3" fmla="*/ 2989193 w 2989193"/>
              <a:gd name="connsiteY3" fmla="*/ 6997148 h 7007087"/>
              <a:gd name="connsiteX4" fmla="*/ 1021245 w 2989193"/>
              <a:gd name="connsiteY4" fmla="*/ 7007087 h 7007087"/>
              <a:gd name="connsiteX0" fmla="*/ 86967 w 2989193"/>
              <a:gd name="connsiteY0" fmla="*/ 6987209 h 6997148"/>
              <a:gd name="connsiteX1" fmla="*/ 0 w 2989193"/>
              <a:gd name="connsiteY1" fmla="*/ 0 h 6997148"/>
              <a:gd name="connsiteX2" fmla="*/ 1992795 w 2989193"/>
              <a:gd name="connsiteY2" fmla="*/ 0 h 6997148"/>
              <a:gd name="connsiteX3" fmla="*/ 2989193 w 2989193"/>
              <a:gd name="connsiteY3" fmla="*/ 6997148 h 6997148"/>
              <a:gd name="connsiteX4" fmla="*/ 86967 w 2989193"/>
              <a:gd name="connsiteY4" fmla="*/ 6987209 h 6997148"/>
              <a:gd name="connsiteX0" fmla="*/ 86967 w 2989193"/>
              <a:gd name="connsiteY0" fmla="*/ 6987209 h 6997148"/>
              <a:gd name="connsiteX1" fmla="*/ 0 w 2989193"/>
              <a:gd name="connsiteY1" fmla="*/ 0 h 6997148"/>
              <a:gd name="connsiteX2" fmla="*/ 1287117 w 2989193"/>
              <a:gd name="connsiteY2" fmla="*/ 0 h 6997148"/>
              <a:gd name="connsiteX3" fmla="*/ 2989193 w 2989193"/>
              <a:gd name="connsiteY3" fmla="*/ 6997148 h 6997148"/>
              <a:gd name="connsiteX4" fmla="*/ 86967 w 2989193"/>
              <a:gd name="connsiteY4" fmla="*/ 6987209 h 6997148"/>
              <a:gd name="connsiteX0" fmla="*/ 86967 w 3396697"/>
              <a:gd name="connsiteY0" fmla="*/ 6987209 h 6997148"/>
              <a:gd name="connsiteX1" fmla="*/ 0 w 3396697"/>
              <a:gd name="connsiteY1" fmla="*/ 0 h 6997148"/>
              <a:gd name="connsiteX2" fmla="*/ 1287117 w 3396697"/>
              <a:gd name="connsiteY2" fmla="*/ 0 h 6997148"/>
              <a:gd name="connsiteX3" fmla="*/ 3396697 w 3396697"/>
              <a:gd name="connsiteY3" fmla="*/ 6997148 h 6997148"/>
              <a:gd name="connsiteX4" fmla="*/ 86967 w 3396697"/>
              <a:gd name="connsiteY4" fmla="*/ 6987209 h 6997148"/>
              <a:gd name="connsiteX0" fmla="*/ 86967 w 3396697"/>
              <a:gd name="connsiteY0" fmla="*/ 6987209 h 6997148"/>
              <a:gd name="connsiteX1" fmla="*/ 0 w 3396697"/>
              <a:gd name="connsiteY1" fmla="*/ 0 h 6997148"/>
              <a:gd name="connsiteX2" fmla="*/ 1356691 w 3396697"/>
              <a:gd name="connsiteY2" fmla="*/ 0 h 6997148"/>
              <a:gd name="connsiteX3" fmla="*/ 3396697 w 3396697"/>
              <a:gd name="connsiteY3" fmla="*/ 6997148 h 6997148"/>
              <a:gd name="connsiteX4" fmla="*/ 86967 w 3396697"/>
              <a:gd name="connsiteY4" fmla="*/ 6987209 h 6997148"/>
              <a:gd name="connsiteX0" fmla="*/ 7454 w 3396697"/>
              <a:gd name="connsiteY0" fmla="*/ 7017587 h 7017587"/>
              <a:gd name="connsiteX1" fmla="*/ 0 w 3396697"/>
              <a:gd name="connsiteY1" fmla="*/ 0 h 7017587"/>
              <a:gd name="connsiteX2" fmla="*/ 1356691 w 3396697"/>
              <a:gd name="connsiteY2" fmla="*/ 0 h 7017587"/>
              <a:gd name="connsiteX3" fmla="*/ 3396697 w 3396697"/>
              <a:gd name="connsiteY3" fmla="*/ 6997148 h 7017587"/>
              <a:gd name="connsiteX4" fmla="*/ 7454 w 3396697"/>
              <a:gd name="connsiteY4" fmla="*/ 7017587 h 7017587"/>
              <a:gd name="connsiteX0" fmla="*/ 7454 w 3376819"/>
              <a:gd name="connsiteY0" fmla="*/ 7017587 h 7017587"/>
              <a:gd name="connsiteX1" fmla="*/ 0 w 3376819"/>
              <a:gd name="connsiteY1" fmla="*/ 0 h 7017587"/>
              <a:gd name="connsiteX2" fmla="*/ 1356691 w 3376819"/>
              <a:gd name="connsiteY2" fmla="*/ 0 h 7017587"/>
              <a:gd name="connsiteX3" fmla="*/ 3376819 w 3376819"/>
              <a:gd name="connsiteY3" fmla="*/ 6997149 h 7017587"/>
              <a:gd name="connsiteX4" fmla="*/ 7454 w 3376819"/>
              <a:gd name="connsiteY4" fmla="*/ 7017587 h 7017587"/>
              <a:gd name="connsiteX0" fmla="*/ 7454 w 3319669"/>
              <a:gd name="connsiteY0" fmla="*/ 7017587 h 7023027"/>
              <a:gd name="connsiteX1" fmla="*/ 0 w 3319669"/>
              <a:gd name="connsiteY1" fmla="*/ 0 h 7023027"/>
              <a:gd name="connsiteX2" fmla="*/ 1356691 w 3319669"/>
              <a:gd name="connsiteY2" fmla="*/ 0 h 7023027"/>
              <a:gd name="connsiteX3" fmla="*/ 3319669 w 3319669"/>
              <a:gd name="connsiteY3" fmla="*/ 7023027 h 7023027"/>
              <a:gd name="connsiteX4" fmla="*/ 7454 w 3319669"/>
              <a:gd name="connsiteY4" fmla="*/ 7017587 h 702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9669" h="7023027">
                <a:moveTo>
                  <a:pt x="7454" y="7017587"/>
                </a:moveTo>
                <a:cubicBezTo>
                  <a:pt x="4969" y="4678391"/>
                  <a:pt x="2485" y="2339196"/>
                  <a:pt x="0" y="0"/>
                </a:cubicBezTo>
                <a:lnTo>
                  <a:pt x="1356691" y="0"/>
                </a:lnTo>
                <a:lnTo>
                  <a:pt x="3319669" y="7023027"/>
                </a:lnTo>
                <a:lnTo>
                  <a:pt x="7454" y="7017587"/>
                </a:lnTo>
                <a:close/>
              </a:path>
            </a:pathLst>
          </a:custGeom>
          <a:solidFill>
            <a:srgbClr val="44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black and white logo&#10;&#10;Description automatically generated">
            <a:extLst>
              <a:ext uri="{FF2B5EF4-FFF2-40B4-BE49-F238E27FC236}">
                <a16:creationId xmlns:a16="http://schemas.microsoft.com/office/drawing/2014/main" id="{1D497C82-B3DC-31C4-DEE4-65F87F967E50}"/>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570534" y="-30002"/>
            <a:ext cx="565288" cy="565288"/>
          </a:xfrm>
          <a:prstGeom prst="rect">
            <a:avLst/>
          </a:prstGeom>
        </p:spPr>
      </p:pic>
    </p:spTree>
    <p:extLst>
      <p:ext uri="{BB962C8B-B14F-4D97-AF65-F5344CB8AC3E}">
        <p14:creationId xmlns:p14="http://schemas.microsoft.com/office/powerpoint/2010/main" val="1697478639"/>
      </p:ext>
    </p:extLst>
  </p:cSld>
  <p:clrMap bg1="lt1" tx1="dk1" bg2="lt2" tx2="dk2" accent1="accent1" accent2="accent2" accent3="accent3" accent4="accent4" accent5="accent5" accent6="accent6" hlink="hlink" folHlink="folHlink"/>
  <p:sldLayoutIdLst>
    <p:sldLayoutId id="2147483651" r:id="rId1"/>
    <p:sldLayoutId id="2147483673" r:id="rId2"/>
    <p:sldLayoutId id="2147483674" r:id="rId3"/>
    <p:sldLayoutId id="2147483675" r:id="rId4"/>
    <p:sldLayoutId id="2147483676" r:id="rId5"/>
    <p:sldLayoutId id="2147483729" r:id="rId6"/>
    <p:sldLayoutId id="2147483762" r:id="rId7"/>
    <p:sldLayoutId id="2147483763" r:id="rId8"/>
    <p:sldLayoutId id="2147483764" r:id="rId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862BA0B-C1D0-6CD3-1BE4-C07E338CF12C}"/>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b="-5633"/>
          <a:stretch/>
        </p:blipFill>
        <p:spPr>
          <a:xfrm>
            <a:off x="0" y="0"/>
            <a:ext cx="12192000" cy="6858000"/>
          </a:xfrm>
          <a:prstGeom prst="rect">
            <a:avLst/>
          </a:prstGeom>
        </p:spPr>
      </p:pic>
      <p:sp>
        <p:nvSpPr>
          <p:cNvPr id="5" name="Trapezoid 6">
            <a:extLst>
              <a:ext uri="{FF2B5EF4-FFF2-40B4-BE49-F238E27FC236}">
                <a16:creationId xmlns:a16="http://schemas.microsoft.com/office/drawing/2014/main" id="{715C657B-9798-AA6D-DC0C-AFDB223B15E3}"/>
              </a:ext>
            </a:extLst>
          </p:cNvPr>
          <p:cNvSpPr/>
          <p:nvPr userDrawn="1"/>
        </p:nvSpPr>
        <p:spPr>
          <a:xfrm rot="16200000">
            <a:off x="2502702" y="-1040498"/>
            <a:ext cx="4974266" cy="9979670"/>
          </a:xfrm>
          <a:custGeom>
            <a:avLst/>
            <a:gdLst>
              <a:gd name="connsiteX0" fmla="*/ 0 w 3985591"/>
              <a:gd name="connsiteY0" fmla="*/ 6997148 h 6997148"/>
              <a:gd name="connsiteX1" fmla="*/ 996398 w 3985591"/>
              <a:gd name="connsiteY1" fmla="*/ 0 h 6997148"/>
              <a:gd name="connsiteX2" fmla="*/ 2989193 w 3985591"/>
              <a:gd name="connsiteY2" fmla="*/ 0 h 6997148"/>
              <a:gd name="connsiteX3" fmla="*/ 3985591 w 3985591"/>
              <a:gd name="connsiteY3" fmla="*/ 6997148 h 6997148"/>
              <a:gd name="connsiteX4" fmla="*/ 0 w 3985591"/>
              <a:gd name="connsiteY4" fmla="*/ 6997148 h 6997148"/>
              <a:gd name="connsiteX0" fmla="*/ 1021245 w 2989193"/>
              <a:gd name="connsiteY0" fmla="*/ 7007087 h 7007087"/>
              <a:gd name="connsiteX1" fmla="*/ 0 w 2989193"/>
              <a:gd name="connsiteY1" fmla="*/ 0 h 7007087"/>
              <a:gd name="connsiteX2" fmla="*/ 1992795 w 2989193"/>
              <a:gd name="connsiteY2" fmla="*/ 0 h 7007087"/>
              <a:gd name="connsiteX3" fmla="*/ 2989193 w 2989193"/>
              <a:gd name="connsiteY3" fmla="*/ 6997148 h 7007087"/>
              <a:gd name="connsiteX4" fmla="*/ 1021245 w 2989193"/>
              <a:gd name="connsiteY4" fmla="*/ 7007087 h 7007087"/>
              <a:gd name="connsiteX0" fmla="*/ 86967 w 2989193"/>
              <a:gd name="connsiteY0" fmla="*/ 6987209 h 6997148"/>
              <a:gd name="connsiteX1" fmla="*/ 0 w 2989193"/>
              <a:gd name="connsiteY1" fmla="*/ 0 h 6997148"/>
              <a:gd name="connsiteX2" fmla="*/ 1992795 w 2989193"/>
              <a:gd name="connsiteY2" fmla="*/ 0 h 6997148"/>
              <a:gd name="connsiteX3" fmla="*/ 2989193 w 2989193"/>
              <a:gd name="connsiteY3" fmla="*/ 6997148 h 6997148"/>
              <a:gd name="connsiteX4" fmla="*/ 86967 w 2989193"/>
              <a:gd name="connsiteY4" fmla="*/ 6987209 h 6997148"/>
              <a:gd name="connsiteX0" fmla="*/ 86967 w 2989193"/>
              <a:gd name="connsiteY0" fmla="*/ 6987209 h 6997148"/>
              <a:gd name="connsiteX1" fmla="*/ 0 w 2989193"/>
              <a:gd name="connsiteY1" fmla="*/ 0 h 6997148"/>
              <a:gd name="connsiteX2" fmla="*/ 1287117 w 2989193"/>
              <a:gd name="connsiteY2" fmla="*/ 0 h 6997148"/>
              <a:gd name="connsiteX3" fmla="*/ 2989193 w 2989193"/>
              <a:gd name="connsiteY3" fmla="*/ 6997148 h 6997148"/>
              <a:gd name="connsiteX4" fmla="*/ 86967 w 2989193"/>
              <a:gd name="connsiteY4" fmla="*/ 6987209 h 6997148"/>
              <a:gd name="connsiteX0" fmla="*/ 86967 w 3396697"/>
              <a:gd name="connsiteY0" fmla="*/ 6987209 h 6997148"/>
              <a:gd name="connsiteX1" fmla="*/ 0 w 3396697"/>
              <a:gd name="connsiteY1" fmla="*/ 0 h 6997148"/>
              <a:gd name="connsiteX2" fmla="*/ 1287117 w 3396697"/>
              <a:gd name="connsiteY2" fmla="*/ 0 h 6997148"/>
              <a:gd name="connsiteX3" fmla="*/ 3396697 w 3396697"/>
              <a:gd name="connsiteY3" fmla="*/ 6997148 h 6997148"/>
              <a:gd name="connsiteX4" fmla="*/ 86967 w 3396697"/>
              <a:gd name="connsiteY4" fmla="*/ 6987209 h 6997148"/>
              <a:gd name="connsiteX0" fmla="*/ 86967 w 3396697"/>
              <a:gd name="connsiteY0" fmla="*/ 6987209 h 6997148"/>
              <a:gd name="connsiteX1" fmla="*/ 0 w 3396697"/>
              <a:gd name="connsiteY1" fmla="*/ 0 h 6997148"/>
              <a:gd name="connsiteX2" fmla="*/ 1356691 w 3396697"/>
              <a:gd name="connsiteY2" fmla="*/ 0 h 6997148"/>
              <a:gd name="connsiteX3" fmla="*/ 3396697 w 3396697"/>
              <a:gd name="connsiteY3" fmla="*/ 6997148 h 6997148"/>
              <a:gd name="connsiteX4" fmla="*/ 86967 w 3396697"/>
              <a:gd name="connsiteY4" fmla="*/ 6987209 h 6997148"/>
              <a:gd name="connsiteX0" fmla="*/ 86967 w 3396697"/>
              <a:gd name="connsiteY0" fmla="*/ 7005411 h 7015350"/>
              <a:gd name="connsiteX1" fmla="*/ 0 w 3396697"/>
              <a:gd name="connsiteY1" fmla="*/ 18202 h 7015350"/>
              <a:gd name="connsiteX2" fmla="*/ 2303163 w 3396697"/>
              <a:gd name="connsiteY2" fmla="*/ 0 h 7015350"/>
              <a:gd name="connsiteX3" fmla="*/ 3396697 w 3396697"/>
              <a:gd name="connsiteY3" fmla="*/ 7015350 h 7015350"/>
              <a:gd name="connsiteX4" fmla="*/ 86967 w 3396697"/>
              <a:gd name="connsiteY4" fmla="*/ 7005411 h 7015350"/>
              <a:gd name="connsiteX0" fmla="*/ 86967 w 2303163"/>
              <a:gd name="connsiteY0" fmla="*/ 7005411 h 7005411"/>
              <a:gd name="connsiteX1" fmla="*/ 0 w 2303163"/>
              <a:gd name="connsiteY1" fmla="*/ 18202 h 7005411"/>
              <a:gd name="connsiteX2" fmla="*/ 2303163 w 2303163"/>
              <a:gd name="connsiteY2" fmla="*/ 0 h 7005411"/>
              <a:gd name="connsiteX3" fmla="*/ 1239832 w 2303163"/>
              <a:gd name="connsiteY3" fmla="*/ 6997150 h 7005411"/>
              <a:gd name="connsiteX4" fmla="*/ 86967 w 2303163"/>
              <a:gd name="connsiteY4" fmla="*/ 7005411 h 7005411"/>
              <a:gd name="connsiteX0" fmla="*/ 50565 w 2303163"/>
              <a:gd name="connsiteY0" fmla="*/ 7005412 h 7005412"/>
              <a:gd name="connsiteX1" fmla="*/ 0 w 2303163"/>
              <a:gd name="connsiteY1" fmla="*/ 18202 h 7005412"/>
              <a:gd name="connsiteX2" fmla="*/ 2303163 w 2303163"/>
              <a:gd name="connsiteY2" fmla="*/ 0 h 7005412"/>
              <a:gd name="connsiteX3" fmla="*/ 1239832 w 2303163"/>
              <a:gd name="connsiteY3" fmla="*/ 6997150 h 7005412"/>
              <a:gd name="connsiteX4" fmla="*/ 50565 w 2303163"/>
              <a:gd name="connsiteY4" fmla="*/ 7005412 h 7005412"/>
              <a:gd name="connsiteX0" fmla="*/ 50565 w 2603486"/>
              <a:gd name="connsiteY0" fmla="*/ 6987210 h 6987210"/>
              <a:gd name="connsiteX1" fmla="*/ 0 w 2603486"/>
              <a:gd name="connsiteY1" fmla="*/ 0 h 6987210"/>
              <a:gd name="connsiteX2" fmla="*/ 2603486 w 2603486"/>
              <a:gd name="connsiteY2" fmla="*/ 0 h 6987210"/>
              <a:gd name="connsiteX3" fmla="*/ 1239832 w 2603486"/>
              <a:gd name="connsiteY3" fmla="*/ 6978948 h 6987210"/>
              <a:gd name="connsiteX4" fmla="*/ 50565 w 2603486"/>
              <a:gd name="connsiteY4" fmla="*/ 6987210 h 6987210"/>
              <a:gd name="connsiteX0" fmla="*/ 50565 w 2603486"/>
              <a:gd name="connsiteY0" fmla="*/ 6987210 h 6987210"/>
              <a:gd name="connsiteX1" fmla="*/ 0 w 2603486"/>
              <a:gd name="connsiteY1" fmla="*/ 0 h 6987210"/>
              <a:gd name="connsiteX2" fmla="*/ 2603486 w 2603486"/>
              <a:gd name="connsiteY2" fmla="*/ 0 h 6987210"/>
              <a:gd name="connsiteX3" fmla="*/ 912207 w 2603486"/>
              <a:gd name="connsiteY3" fmla="*/ 6978948 h 6987210"/>
              <a:gd name="connsiteX4" fmla="*/ 50565 w 2603486"/>
              <a:gd name="connsiteY4" fmla="*/ 6987210 h 6987210"/>
              <a:gd name="connsiteX0" fmla="*/ 50565 w 2603486"/>
              <a:gd name="connsiteY0" fmla="*/ 6987210 h 6987210"/>
              <a:gd name="connsiteX1" fmla="*/ 0 w 2603486"/>
              <a:gd name="connsiteY1" fmla="*/ 0 h 6987210"/>
              <a:gd name="connsiteX2" fmla="*/ 2603486 w 2603486"/>
              <a:gd name="connsiteY2" fmla="*/ 0 h 6987210"/>
              <a:gd name="connsiteX3" fmla="*/ 766596 w 2603486"/>
              <a:gd name="connsiteY3" fmla="*/ 6978948 h 6987210"/>
              <a:gd name="connsiteX4" fmla="*/ 50565 w 2603486"/>
              <a:gd name="connsiteY4" fmla="*/ 6987210 h 6987210"/>
              <a:gd name="connsiteX0" fmla="*/ 50565 w 2603486"/>
              <a:gd name="connsiteY0" fmla="*/ 6987210 h 6987210"/>
              <a:gd name="connsiteX1" fmla="*/ 0 w 2603486"/>
              <a:gd name="connsiteY1" fmla="*/ 0 h 6987210"/>
              <a:gd name="connsiteX2" fmla="*/ 2603486 w 2603486"/>
              <a:gd name="connsiteY2" fmla="*/ 0 h 6987210"/>
              <a:gd name="connsiteX3" fmla="*/ 894005 w 2603486"/>
              <a:gd name="connsiteY3" fmla="*/ 5322622 h 6987210"/>
              <a:gd name="connsiteX4" fmla="*/ 50565 w 2603486"/>
              <a:gd name="connsiteY4" fmla="*/ 6987210 h 6987210"/>
              <a:gd name="connsiteX0" fmla="*/ 50565 w 2840104"/>
              <a:gd name="connsiteY0" fmla="*/ 6996311 h 6996311"/>
              <a:gd name="connsiteX1" fmla="*/ 0 w 2840104"/>
              <a:gd name="connsiteY1" fmla="*/ 9101 h 6996311"/>
              <a:gd name="connsiteX2" fmla="*/ 2840104 w 2840104"/>
              <a:gd name="connsiteY2" fmla="*/ 0 h 6996311"/>
              <a:gd name="connsiteX3" fmla="*/ 894005 w 2840104"/>
              <a:gd name="connsiteY3" fmla="*/ 5331723 h 6996311"/>
              <a:gd name="connsiteX4" fmla="*/ 50565 w 2840104"/>
              <a:gd name="connsiteY4" fmla="*/ 6996311 h 6996311"/>
              <a:gd name="connsiteX0" fmla="*/ 32364 w 2840104"/>
              <a:gd name="connsiteY0" fmla="*/ 4903151 h 5331723"/>
              <a:gd name="connsiteX1" fmla="*/ 0 w 2840104"/>
              <a:gd name="connsiteY1" fmla="*/ 9101 h 5331723"/>
              <a:gd name="connsiteX2" fmla="*/ 2840104 w 2840104"/>
              <a:gd name="connsiteY2" fmla="*/ 0 h 5331723"/>
              <a:gd name="connsiteX3" fmla="*/ 894005 w 2840104"/>
              <a:gd name="connsiteY3" fmla="*/ 5331723 h 5331723"/>
              <a:gd name="connsiteX4" fmla="*/ 32364 w 2840104"/>
              <a:gd name="connsiteY4" fmla="*/ 4903151 h 5331723"/>
              <a:gd name="connsiteX0" fmla="*/ 14163 w 2821903"/>
              <a:gd name="connsiteY0" fmla="*/ 4903152 h 5331724"/>
              <a:gd name="connsiteX1" fmla="*/ 0 w 2821903"/>
              <a:gd name="connsiteY1" fmla="*/ 0 h 5331724"/>
              <a:gd name="connsiteX2" fmla="*/ 2821903 w 2821903"/>
              <a:gd name="connsiteY2" fmla="*/ 1 h 5331724"/>
              <a:gd name="connsiteX3" fmla="*/ 875804 w 2821903"/>
              <a:gd name="connsiteY3" fmla="*/ 5331724 h 5331724"/>
              <a:gd name="connsiteX4" fmla="*/ 14163 w 2821903"/>
              <a:gd name="connsiteY4" fmla="*/ 4903152 h 5331724"/>
              <a:gd name="connsiteX0" fmla="*/ 14163 w 2821903"/>
              <a:gd name="connsiteY0" fmla="*/ 4903152 h 5704854"/>
              <a:gd name="connsiteX1" fmla="*/ 0 w 2821903"/>
              <a:gd name="connsiteY1" fmla="*/ 0 h 5704854"/>
              <a:gd name="connsiteX2" fmla="*/ 2821903 w 2821903"/>
              <a:gd name="connsiteY2" fmla="*/ 1 h 5704854"/>
              <a:gd name="connsiteX3" fmla="*/ 748395 w 2821903"/>
              <a:gd name="connsiteY3" fmla="*/ 5704854 h 5704854"/>
              <a:gd name="connsiteX4" fmla="*/ 14163 w 2821903"/>
              <a:gd name="connsiteY4" fmla="*/ 4903152 h 5704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903" h="5704854">
                <a:moveTo>
                  <a:pt x="14163" y="4903152"/>
                </a:moveTo>
                <a:lnTo>
                  <a:pt x="0" y="0"/>
                </a:lnTo>
                <a:lnTo>
                  <a:pt x="2821903" y="1"/>
                </a:lnTo>
                <a:lnTo>
                  <a:pt x="748395" y="5704854"/>
                </a:lnTo>
                <a:lnTo>
                  <a:pt x="14163" y="4903152"/>
                </a:lnTo>
                <a:close/>
              </a:path>
            </a:pathLst>
          </a:custGeom>
          <a:solidFill>
            <a:srgbClr val="1D0092">
              <a:alpha val="6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rapezoid 6">
            <a:extLst>
              <a:ext uri="{FF2B5EF4-FFF2-40B4-BE49-F238E27FC236}">
                <a16:creationId xmlns:a16="http://schemas.microsoft.com/office/drawing/2014/main" id="{B4794184-1130-B7F4-CD93-1A354961B9B2}"/>
              </a:ext>
            </a:extLst>
          </p:cNvPr>
          <p:cNvSpPr/>
          <p:nvPr userDrawn="1"/>
        </p:nvSpPr>
        <p:spPr>
          <a:xfrm rot="16200000">
            <a:off x="3803689" y="-1415148"/>
            <a:ext cx="4589255" cy="12196635"/>
          </a:xfrm>
          <a:custGeom>
            <a:avLst/>
            <a:gdLst>
              <a:gd name="connsiteX0" fmla="*/ 0 w 3985591"/>
              <a:gd name="connsiteY0" fmla="*/ 6997148 h 6997148"/>
              <a:gd name="connsiteX1" fmla="*/ 996398 w 3985591"/>
              <a:gd name="connsiteY1" fmla="*/ 0 h 6997148"/>
              <a:gd name="connsiteX2" fmla="*/ 2989193 w 3985591"/>
              <a:gd name="connsiteY2" fmla="*/ 0 h 6997148"/>
              <a:gd name="connsiteX3" fmla="*/ 3985591 w 3985591"/>
              <a:gd name="connsiteY3" fmla="*/ 6997148 h 6997148"/>
              <a:gd name="connsiteX4" fmla="*/ 0 w 3985591"/>
              <a:gd name="connsiteY4" fmla="*/ 6997148 h 6997148"/>
              <a:gd name="connsiteX0" fmla="*/ 1021245 w 2989193"/>
              <a:gd name="connsiteY0" fmla="*/ 7007087 h 7007087"/>
              <a:gd name="connsiteX1" fmla="*/ 0 w 2989193"/>
              <a:gd name="connsiteY1" fmla="*/ 0 h 7007087"/>
              <a:gd name="connsiteX2" fmla="*/ 1992795 w 2989193"/>
              <a:gd name="connsiteY2" fmla="*/ 0 h 7007087"/>
              <a:gd name="connsiteX3" fmla="*/ 2989193 w 2989193"/>
              <a:gd name="connsiteY3" fmla="*/ 6997148 h 7007087"/>
              <a:gd name="connsiteX4" fmla="*/ 1021245 w 2989193"/>
              <a:gd name="connsiteY4" fmla="*/ 7007087 h 7007087"/>
              <a:gd name="connsiteX0" fmla="*/ 86967 w 2989193"/>
              <a:gd name="connsiteY0" fmla="*/ 6987209 h 6997148"/>
              <a:gd name="connsiteX1" fmla="*/ 0 w 2989193"/>
              <a:gd name="connsiteY1" fmla="*/ 0 h 6997148"/>
              <a:gd name="connsiteX2" fmla="*/ 1992795 w 2989193"/>
              <a:gd name="connsiteY2" fmla="*/ 0 h 6997148"/>
              <a:gd name="connsiteX3" fmla="*/ 2989193 w 2989193"/>
              <a:gd name="connsiteY3" fmla="*/ 6997148 h 6997148"/>
              <a:gd name="connsiteX4" fmla="*/ 86967 w 2989193"/>
              <a:gd name="connsiteY4" fmla="*/ 6987209 h 6997148"/>
              <a:gd name="connsiteX0" fmla="*/ 86967 w 2989193"/>
              <a:gd name="connsiteY0" fmla="*/ 6987209 h 6997148"/>
              <a:gd name="connsiteX1" fmla="*/ 0 w 2989193"/>
              <a:gd name="connsiteY1" fmla="*/ 0 h 6997148"/>
              <a:gd name="connsiteX2" fmla="*/ 1287117 w 2989193"/>
              <a:gd name="connsiteY2" fmla="*/ 0 h 6997148"/>
              <a:gd name="connsiteX3" fmla="*/ 2989193 w 2989193"/>
              <a:gd name="connsiteY3" fmla="*/ 6997148 h 6997148"/>
              <a:gd name="connsiteX4" fmla="*/ 86967 w 2989193"/>
              <a:gd name="connsiteY4" fmla="*/ 6987209 h 6997148"/>
              <a:gd name="connsiteX0" fmla="*/ 86967 w 3396697"/>
              <a:gd name="connsiteY0" fmla="*/ 6987209 h 6997148"/>
              <a:gd name="connsiteX1" fmla="*/ 0 w 3396697"/>
              <a:gd name="connsiteY1" fmla="*/ 0 h 6997148"/>
              <a:gd name="connsiteX2" fmla="*/ 1287117 w 3396697"/>
              <a:gd name="connsiteY2" fmla="*/ 0 h 6997148"/>
              <a:gd name="connsiteX3" fmla="*/ 3396697 w 3396697"/>
              <a:gd name="connsiteY3" fmla="*/ 6997148 h 6997148"/>
              <a:gd name="connsiteX4" fmla="*/ 86967 w 3396697"/>
              <a:gd name="connsiteY4" fmla="*/ 6987209 h 6997148"/>
              <a:gd name="connsiteX0" fmla="*/ 86967 w 3396697"/>
              <a:gd name="connsiteY0" fmla="*/ 6987209 h 6997148"/>
              <a:gd name="connsiteX1" fmla="*/ 0 w 3396697"/>
              <a:gd name="connsiteY1" fmla="*/ 0 h 6997148"/>
              <a:gd name="connsiteX2" fmla="*/ 1356691 w 3396697"/>
              <a:gd name="connsiteY2" fmla="*/ 0 h 6997148"/>
              <a:gd name="connsiteX3" fmla="*/ 3396697 w 3396697"/>
              <a:gd name="connsiteY3" fmla="*/ 6997148 h 6997148"/>
              <a:gd name="connsiteX4" fmla="*/ 86967 w 3396697"/>
              <a:gd name="connsiteY4" fmla="*/ 6987209 h 6997148"/>
              <a:gd name="connsiteX0" fmla="*/ 86967 w 3396697"/>
              <a:gd name="connsiteY0" fmla="*/ 7005411 h 7015350"/>
              <a:gd name="connsiteX1" fmla="*/ 0 w 3396697"/>
              <a:gd name="connsiteY1" fmla="*/ 18202 h 7015350"/>
              <a:gd name="connsiteX2" fmla="*/ 2303163 w 3396697"/>
              <a:gd name="connsiteY2" fmla="*/ 0 h 7015350"/>
              <a:gd name="connsiteX3" fmla="*/ 3396697 w 3396697"/>
              <a:gd name="connsiteY3" fmla="*/ 7015350 h 7015350"/>
              <a:gd name="connsiteX4" fmla="*/ 86967 w 3396697"/>
              <a:gd name="connsiteY4" fmla="*/ 7005411 h 7015350"/>
              <a:gd name="connsiteX0" fmla="*/ 86967 w 2303163"/>
              <a:gd name="connsiteY0" fmla="*/ 7005411 h 7005411"/>
              <a:gd name="connsiteX1" fmla="*/ 0 w 2303163"/>
              <a:gd name="connsiteY1" fmla="*/ 18202 h 7005411"/>
              <a:gd name="connsiteX2" fmla="*/ 2303163 w 2303163"/>
              <a:gd name="connsiteY2" fmla="*/ 0 h 7005411"/>
              <a:gd name="connsiteX3" fmla="*/ 1239832 w 2303163"/>
              <a:gd name="connsiteY3" fmla="*/ 6997150 h 7005411"/>
              <a:gd name="connsiteX4" fmla="*/ 86967 w 2303163"/>
              <a:gd name="connsiteY4" fmla="*/ 7005411 h 7005411"/>
              <a:gd name="connsiteX0" fmla="*/ 50565 w 2303163"/>
              <a:gd name="connsiteY0" fmla="*/ 7005412 h 7005412"/>
              <a:gd name="connsiteX1" fmla="*/ 0 w 2303163"/>
              <a:gd name="connsiteY1" fmla="*/ 18202 h 7005412"/>
              <a:gd name="connsiteX2" fmla="*/ 2303163 w 2303163"/>
              <a:gd name="connsiteY2" fmla="*/ 0 h 7005412"/>
              <a:gd name="connsiteX3" fmla="*/ 1239832 w 2303163"/>
              <a:gd name="connsiteY3" fmla="*/ 6997150 h 7005412"/>
              <a:gd name="connsiteX4" fmla="*/ 50565 w 2303163"/>
              <a:gd name="connsiteY4" fmla="*/ 7005412 h 7005412"/>
              <a:gd name="connsiteX0" fmla="*/ 50565 w 2603486"/>
              <a:gd name="connsiteY0" fmla="*/ 6987210 h 6987210"/>
              <a:gd name="connsiteX1" fmla="*/ 0 w 2603486"/>
              <a:gd name="connsiteY1" fmla="*/ 0 h 6987210"/>
              <a:gd name="connsiteX2" fmla="*/ 2603486 w 2603486"/>
              <a:gd name="connsiteY2" fmla="*/ 0 h 6987210"/>
              <a:gd name="connsiteX3" fmla="*/ 1239832 w 2603486"/>
              <a:gd name="connsiteY3" fmla="*/ 6978948 h 6987210"/>
              <a:gd name="connsiteX4" fmla="*/ 50565 w 2603486"/>
              <a:gd name="connsiteY4" fmla="*/ 6987210 h 6987210"/>
              <a:gd name="connsiteX0" fmla="*/ 50565 w 2603486"/>
              <a:gd name="connsiteY0" fmla="*/ 6987210 h 6987210"/>
              <a:gd name="connsiteX1" fmla="*/ 0 w 2603486"/>
              <a:gd name="connsiteY1" fmla="*/ 0 h 6987210"/>
              <a:gd name="connsiteX2" fmla="*/ 2603486 w 2603486"/>
              <a:gd name="connsiteY2" fmla="*/ 0 h 6987210"/>
              <a:gd name="connsiteX3" fmla="*/ 912207 w 2603486"/>
              <a:gd name="connsiteY3" fmla="*/ 6978948 h 6987210"/>
              <a:gd name="connsiteX4" fmla="*/ 50565 w 2603486"/>
              <a:gd name="connsiteY4" fmla="*/ 6987210 h 6987210"/>
              <a:gd name="connsiteX0" fmla="*/ 50565 w 2603486"/>
              <a:gd name="connsiteY0" fmla="*/ 6987210 h 6987210"/>
              <a:gd name="connsiteX1" fmla="*/ 0 w 2603486"/>
              <a:gd name="connsiteY1" fmla="*/ 0 h 6987210"/>
              <a:gd name="connsiteX2" fmla="*/ 2603486 w 2603486"/>
              <a:gd name="connsiteY2" fmla="*/ 0 h 6987210"/>
              <a:gd name="connsiteX3" fmla="*/ 766596 w 2603486"/>
              <a:gd name="connsiteY3" fmla="*/ 6978948 h 6987210"/>
              <a:gd name="connsiteX4" fmla="*/ 50565 w 2603486"/>
              <a:gd name="connsiteY4" fmla="*/ 6987210 h 6987210"/>
              <a:gd name="connsiteX0" fmla="*/ 50565 w 2603486"/>
              <a:gd name="connsiteY0" fmla="*/ 6987210 h 6989866"/>
              <a:gd name="connsiteX1" fmla="*/ 0 w 2603486"/>
              <a:gd name="connsiteY1" fmla="*/ 0 h 6989866"/>
              <a:gd name="connsiteX2" fmla="*/ 2603486 w 2603486"/>
              <a:gd name="connsiteY2" fmla="*/ 0 h 6989866"/>
              <a:gd name="connsiteX3" fmla="*/ 759391 w 2603486"/>
              <a:gd name="connsiteY3" fmla="*/ 6989866 h 6989866"/>
              <a:gd name="connsiteX4" fmla="*/ 50565 w 2603486"/>
              <a:gd name="connsiteY4" fmla="*/ 6987210 h 6989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486" h="6989866">
                <a:moveTo>
                  <a:pt x="50565" y="6987210"/>
                </a:moveTo>
                <a:lnTo>
                  <a:pt x="0" y="0"/>
                </a:lnTo>
                <a:lnTo>
                  <a:pt x="2603486" y="0"/>
                </a:lnTo>
                <a:lnTo>
                  <a:pt x="759391" y="6989866"/>
                </a:lnTo>
                <a:lnTo>
                  <a:pt x="50565" y="6987210"/>
                </a:lnTo>
                <a:close/>
              </a:path>
            </a:pathLst>
          </a:custGeom>
          <a:solidFill>
            <a:srgbClr val="44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black and white logo&#10;&#10;Description automatically generated">
            <a:extLst>
              <a:ext uri="{FF2B5EF4-FFF2-40B4-BE49-F238E27FC236}">
                <a16:creationId xmlns:a16="http://schemas.microsoft.com/office/drawing/2014/main" id="{1D497C82-B3DC-31C4-DEE4-65F87F967E5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557834" y="1048"/>
            <a:ext cx="565288" cy="565288"/>
          </a:xfrm>
          <a:prstGeom prst="rect">
            <a:avLst/>
          </a:prstGeom>
        </p:spPr>
      </p:pic>
      <p:sp>
        <p:nvSpPr>
          <p:cNvPr id="4" name="TextBox 3">
            <a:extLst>
              <a:ext uri="{FF2B5EF4-FFF2-40B4-BE49-F238E27FC236}">
                <a16:creationId xmlns:a16="http://schemas.microsoft.com/office/drawing/2014/main" id="{91DA54BA-A947-1413-2325-52B282815A06}"/>
              </a:ext>
            </a:extLst>
          </p:cNvPr>
          <p:cNvSpPr txBox="1"/>
          <p:nvPr userDrawn="1"/>
        </p:nvSpPr>
        <p:spPr>
          <a:xfrm>
            <a:off x="776310" y="4173927"/>
            <a:ext cx="4562061" cy="246221"/>
          </a:xfrm>
          <a:prstGeom prst="rect">
            <a:avLst/>
          </a:prstGeom>
          <a:noFill/>
        </p:spPr>
        <p:txBody>
          <a:bodyPr wrap="square" rtlCol="0">
            <a:spAutoFit/>
          </a:bodyPr>
          <a:lstStyle/>
          <a:p>
            <a:r>
              <a:rPr lang="en-US" sz="1000" b="1" spc="300">
                <a:solidFill>
                  <a:schemeClr val="bg1"/>
                </a:solidFill>
              </a:rPr>
              <a:t>DENVER INTERNATIONAL AIRPORT</a:t>
            </a:r>
          </a:p>
        </p:txBody>
      </p:sp>
    </p:spTree>
    <p:extLst>
      <p:ext uri="{BB962C8B-B14F-4D97-AF65-F5344CB8AC3E}">
        <p14:creationId xmlns:p14="http://schemas.microsoft.com/office/powerpoint/2010/main" val="3706723004"/>
      </p:ext>
    </p:extLst>
  </p:cSld>
  <p:clrMap bg1="lt1" tx1="dk1" bg2="lt2" tx2="dk2" accent1="accent1" accent2="accent2" accent3="accent3" accent4="accent4" accent5="accent5" accent6="accent6" hlink="hlink" folHlink="folHlink"/>
  <p:sldLayoutIdLst>
    <p:sldLayoutId id="2147483653" r:id="rId1"/>
    <p:sldLayoutId id="2147483677" r:id="rId2"/>
    <p:sldLayoutId id="2147483678" r:id="rId3"/>
    <p:sldLayoutId id="2147483707" r:id="rId4"/>
    <p:sldLayoutId id="2147483708"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24EC9FE-0CCF-9C42-7879-27974B1DA5D4}"/>
              </a:ext>
            </a:extLst>
          </p:cNvPr>
          <p:cNvCxnSpPr/>
          <p:nvPr userDrawn="1"/>
        </p:nvCxnSpPr>
        <p:spPr>
          <a:xfrm>
            <a:off x="865905" y="1093479"/>
            <a:ext cx="640080" cy="0"/>
          </a:xfrm>
          <a:prstGeom prst="line">
            <a:avLst/>
          </a:prstGeom>
          <a:ln w="76200">
            <a:solidFill>
              <a:srgbClr val="E35B2A"/>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AB28EB04-EDC5-1DE2-2F96-E6EE24823DA5}"/>
              </a:ext>
            </a:extLst>
          </p:cNvPr>
          <p:cNvPicPr>
            <a:picLocks noChangeAspect="1"/>
          </p:cNvPicPr>
          <p:nvPr userDrawn="1"/>
        </p:nvPicPr>
        <p:blipFill>
          <a:blip r:embed="rId10" cstate="email">
            <a:extLst>
              <a:ext uri="{28A0092B-C50C-407E-A947-70E740481C1C}">
                <a14:useLocalDpi xmlns:a14="http://schemas.microsoft.com/office/drawing/2010/main"/>
              </a:ext>
            </a:extLst>
          </a:blip>
          <a:srcRect/>
          <a:stretch/>
        </p:blipFill>
        <p:spPr>
          <a:xfrm>
            <a:off x="11026464" y="0"/>
            <a:ext cx="565288" cy="565288"/>
          </a:xfrm>
          <a:prstGeom prst="rect">
            <a:avLst/>
          </a:prstGeom>
        </p:spPr>
      </p:pic>
      <p:sp>
        <p:nvSpPr>
          <p:cNvPr id="4" name="Right Triangle 3">
            <a:extLst>
              <a:ext uri="{FF2B5EF4-FFF2-40B4-BE49-F238E27FC236}">
                <a16:creationId xmlns:a16="http://schemas.microsoft.com/office/drawing/2014/main" id="{2275901F-93B8-C343-88C0-E9739A319D14}"/>
              </a:ext>
            </a:extLst>
          </p:cNvPr>
          <p:cNvSpPr/>
          <p:nvPr userDrawn="1"/>
        </p:nvSpPr>
        <p:spPr>
          <a:xfrm rot="10800000" flipV="1">
            <a:off x="10266947" y="2951747"/>
            <a:ext cx="1925053" cy="3906253"/>
          </a:xfrm>
          <a:prstGeom prst="rtTriangle">
            <a:avLst/>
          </a:prstGeom>
          <a:solidFill>
            <a:srgbClr val="44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9539724"/>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766" r:id="rId3"/>
    <p:sldLayoutId id="2147483767" r:id="rId4"/>
    <p:sldLayoutId id="2147483768" r:id="rId5"/>
    <p:sldLayoutId id="2147483773" r:id="rId6"/>
    <p:sldLayoutId id="2147483820" r:id="rId7"/>
    <p:sldLayoutId id="2147483858"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24EC9FE-0CCF-9C42-7879-27974B1DA5D4}"/>
              </a:ext>
            </a:extLst>
          </p:cNvPr>
          <p:cNvCxnSpPr/>
          <p:nvPr userDrawn="1"/>
        </p:nvCxnSpPr>
        <p:spPr>
          <a:xfrm>
            <a:off x="865905" y="1093479"/>
            <a:ext cx="640080" cy="0"/>
          </a:xfrm>
          <a:prstGeom prst="line">
            <a:avLst/>
          </a:prstGeom>
          <a:ln w="76200">
            <a:solidFill>
              <a:srgbClr val="E35B2A"/>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EF9F1F60-35AA-9F91-1C94-C09C8690FF7A}"/>
              </a:ext>
            </a:extLst>
          </p:cNvPr>
          <p:cNvSpPr>
            <a:spLocks noGrp="1"/>
          </p:cNvSpPr>
          <p:nvPr>
            <p:ph type="title"/>
          </p:nvPr>
        </p:nvSpPr>
        <p:spPr>
          <a:xfrm>
            <a:off x="732692" y="101356"/>
            <a:ext cx="10515600" cy="1325563"/>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67967771"/>
      </p:ext>
    </p:extLst>
  </p:cSld>
  <p:clrMap bg1="lt1" tx1="dk1" bg2="lt2" tx2="dk2" accent1="accent1" accent2="accent2" accent3="accent3" accent4="accent4" accent5="accent5" accent6="accent6" hlink="hlink" folHlink="folHlink"/>
  <p:sldLayoutIdLst>
    <p:sldLayoutId id="2147483683"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BD2C1F-EF5D-1C75-AD65-CAE6244FD06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3C160A-778E-A4DD-5CF8-389FF3CCB67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357E6B-9C49-69E0-7F16-51DBE6E2752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BCD5FC-13DF-7947-A2F8-230685ED9D21}" type="datetimeFigureOut">
              <a:rPr lang="en-US" smtClean="0"/>
              <a:t>6/17/2026</a:t>
            </a:fld>
            <a:endParaRPr lang="en-US"/>
          </a:p>
        </p:txBody>
      </p:sp>
      <p:sp>
        <p:nvSpPr>
          <p:cNvPr id="5" name="Footer Placeholder 4">
            <a:extLst>
              <a:ext uri="{FF2B5EF4-FFF2-40B4-BE49-F238E27FC236}">
                <a16:creationId xmlns:a16="http://schemas.microsoft.com/office/drawing/2014/main" id="{9FEC05D8-3E6F-1C63-9E65-B8F338CCEE4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CE1DF4E-9FAF-BF6F-F220-4F4F2510399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D8ADAF-E0A9-C440-BF83-4CE99D685A9D}" type="slidenum">
              <a:rPr lang="en-US" smtClean="0"/>
              <a:t>‹#›</a:t>
            </a:fld>
            <a:endParaRPr lang="en-US"/>
          </a:p>
        </p:txBody>
      </p:sp>
    </p:spTree>
    <p:extLst>
      <p:ext uri="{BB962C8B-B14F-4D97-AF65-F5344CB8AC3E}">
        <p14:creationId xmlns:p14="http://schemas.microsoft.com/office/powerpoint/2010/main" val="1047997387"/>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862BA0B-C1D0-6CD3-1BE4-C07E338CF12C}"/>
              </a:ext>
            </a:extLst>
          </p:cNvPr>
          <p:cNvPicPr>
            <a:picLocks noChangeAspect="1"/>
          </p:cNvPicPr>
          <p:nvPr userDrawn="1"/>
        </p:nvPicPr>
        <p:blipFill rotWithShape="1">
          <a:blip r:embed="rId11" cstate="email">
            <a:extLst>
              <a:ext uri="{28A0092B-C50C-407E-A947-70E740481C1C}">
                <a14:useLocalDpi xmlns:a14="http://schemas.microsoft.com/office/drawing/2010/main"/>
              </a:ext>
            </a:extLst>
          </a:blip>
          <a:srcRect/>
          <a:stretch/>
        </p:blipFill>
        <p:spPr>
          <a:xfrm>
            <a:off x="1166781" y="-30001"/>
            <a:ext cx="11025219" cy="6893341"/>
          </a:xfrm>
          <a:prstGeom prst="rect">
            <a:avLst/>
          </a:prstGeom>
        </p:spPr>
      </p:pic>
      <p:sp>
        <p:nvSpPr>
          <p:cNvPr id="8" name="TextBox 7">
            <a:extLst>
              <a:ext uri="{FF2B5EF4-FFF2-40B4-BE49-F238E27FC236}">
                <a16:creationId xmlns:a16="http://schemas.microsoft.com/office/drawing/2014/main" id="{F44720D3-C783-C008-793A-9034467834E6}"/>
              </a:ext>
            </a:extLst>
          </p:cNvPr>
          <p:cNvSpPr txBox="1"/>
          <p:nvPr userDrawn="1"/>
        </p:nvSpPr>
        <p:spPr>
          <a:xfrm>
            <a:off x="2405271" y="606289"/>
            <a:ext cx="4562061" cy="246221"/>
          </a:xfrm>
          <a:prstGeom prst="rect">
            <a:avLst/>
          </a:prstGeom>
          <a:noFill/>
        </p:spPr>
        <p:txBody>
          <a:bodyPr wrap="square" rtlCol="0">
            <a:spAutoFit/>
          </a:bodyPr>
          <a:lstStyle/>
          <a:p>
            <a:r>
              <a:rPr lang="en-US" sz="1000" b="1" spc="300">
                <a:solidFill>
                  <a:schemeClr val="bg1"/>
                </a:solidFill>
              </a:rPr>
              <a:t>DENVER INTERNATIONAL AIRPORT</a:t>
            </a:r>
          </a:p>
        </p:txBody>
      </p:sp>
      <p:sp>
        <p:nvSpPr>
          <p:cNvPr id="2" name="Trapezoid 6">
            <a:extLst>
              <a:ext uri="{FF2B5EF4-FFF2-40B4-BE49-F238E27FC236}">
                <a16:creationId xmlns:a16="http://schemas.microsoft.com/office/drawing/2014/main" id="{E2D58CF7-912F-0CEF-6620-4A663E786FC8}"/>
              </a:ext>
            </a:extLst>
          </p:cNvPr>
          <p:cNvSpPr/>
          <p:nvPr userDrawn="1"/>
        </p:nvSpPr>
        <p:spPr>
          <a:xfrm>
            <a:off x="0" y="-30001"/>
            <a:ext cx="3319669" cy="6893341"/>
          </a:xfrm>
          <a:custGeom>
            <a:avLst/>
            <a:gdLst>
              <a:gd name="connsiteX0" fmla="*/ 0 w 3985591"/>
              <a:gd name="connsiteY0" fmla="*/ 6997148 h 6997148"/>
              <a:gd name="connsiteX1" fmla="*/ 996398 w 3985591"/>
              <a:gd name="connsiteY1" fmla="*/ 0 h 6997148"/>
              <a:gd name="connsiteX2" fmla="*/ 2989193 w 3985591"/>
              <a:gd name="connsiteY2" fmla="*/ 0 h 6997148"/>
              <a:gd name="connsiteX3" fmla="*/ 3985591 w 3985591"/>
              <a:gd name="connsiteY3" fmla="*/ 6997148 h 6997148"/>
              <a:gd name="connsiteX4" fmla="*/ 0 w 3985591"/>
              <a:gd name="connsiteY4" fmla="*/ 6997148 h 6997148"/>
              <a:gd name="connsiteX0" fmla="*/ 1021245 w 2989193"/>
              <a:gd name="connsiteY0" fmla="*/ 7007087 h 7007087"/>
              <a:gd name="connsiteX1" fmla="*/ 0 w 2989193"/>
              <a:gd name="connsiteY1" fmla="*/ 0 h 7007087"/>
              <a:gd name="connsiteX2" fmla="*/ 1992795 w 2989193"/>
              <a:gd name="connsiteY2" fmla="*/ 0 h 7007087"/>
              <a:gd name="connsiteX3" fmla="*/ 2989193 w 2989193"/>
              <a:gd name="connsiteY3" fmla="*/ 6997148 h 7007087"/>
              <a:gd name="connsiteX4" fmla="*/ 1021245 w 2989193"/>
              <a:gd name="connsiteY4" fmla="*/ 7007087 h 7007087"/>
              <a:gd name="connsiteX0" fmla="*/ 86967 w 2989193"/>
              <a:gd name="connsiteY0" fmla="*/ 6987209 h 6997148"/>
              <a:gd name="connsiteX1" fmla="*/ 0 w 2989193"/>
              <a:gd name="connsiteY1" fmla="*/ 0 h 6997148"/>
              <a:gd name="connsiteX2" fmla="*/ 1992795 w 2989193"/>
              <a:gd name="connsiteY2" fmla="*/ 0 h 6997148"/>
              <a:gd name="connsiteX3" fmla="*/ 2989193 w 2989193"/>
              <a:gd name="connsiteY3" fmla="*/ 6997148 h 6997148"/>
              <a:gd name="connsiteX4" fmla="*/ 86967 w 2989193"/>
              <a:gd name="connsiteY4" fmla="*/ 6987209 h 6997148"/>
              <a:gd name="connsiteX0" fmla="*/ 86967 w 2989193"/>
              <a:gd name="connsiteY0" fmla="*/ 6987209 h 6997148"/>
              <a:gd name="connsiteX1" fmla="*/ 0 w 2989193"/>
              <a:gd name="connsiteY1" fmla="*/ 0 h 6997148"/>
              <a:gd name="connsiteX2" fmla="*/ 1287117 w 2989193"/>
              <a:gd name="connsiteY2" fmla="*/ 0 h 6997148"/>
              <a:gd name="connsiteX3" fmla="*/ 2989193 w 2989193"/>
              <a:gd name="connsiteY3" fmla="*/ 6997148 h 6997148"/>
              <a:gd name="connsiteX4" fmla="*/ 86967 w 2989193"/>
              <a:gd name="connsiteY4" fmla="*/ 6987209 h 6997148"/>
              <a:gd name="connsiteX0" fmla="*/ 86967 w 3396697"/>
              <a:gd name="connsiteY0" fmla="*/ 6987209 h 6997148"/>
              <a:gd name="connsiteX1" fmla="*/ 0 w 3396697"/>
              <a:gd name="connsiteY1" fmla="*/ 0 h 6997148"/>
              <a:gd name="connsiteX2" fmla="*/ 1287117 w 3396697"/>
              <a:gd name="connsiteY2" fmla="*/ 0 h 6997148"/>
              <a:gd name="connsiteX3" fmla="*/ 3396697 w 3396697"/>
              <a:gd name="connsiteY3" fmla="*/ 6997148 h 6997148"/>
              <a:gd name="connsiteX4" fmla="*/ 86967 w 3396697"/>
              <a:gd name="connsiteY4" fmla="*/ 6987209 h 6997148"/>
              <a:gd name="connsiteX0" fmla="*/ 86967 w 3396697"/>
              <a:gd name="connsiteY0" fmla="*/ 6987209 h 6997148"/>
              <a:gd name="connsiteX1" fmla="*/ 0 w 3396697"/>
              <a:gd name="connsiteY1" fmla="*/ 0 h 6997148"/>
              <a:gd name="connsiteX2" fmla="*/ 1356691 w 3396697"/>
              <a:gd name="connsiteY2" fmla="*/ 0 h 6997148"/>
              <a:gd name="connsiteX3" fmla="*/ 3396697 w 3396697"/>
              <a:gd name="connsiteY3" fmla="*/ 6997148 h 6997148"/>
              <a:gd name="connsiteX4" fmla="*/ 86967 w 3396697"/>
              <a:gd name="connsiteY4" fmla="*/ 6987209 h 6997148"/>
              <a:gd name="connsiteX0" fmla="*/ 7454 w 3396697"/>
              <a:gd name="connsiteY0" fmla="*/ 7017587 h 7017587"/>
              <a:gd name="connsiteX1" fmla="*/ 0 w 3396697"/>
              <a:gd name="connsiteY1" fmla="*/ 0 h 7017587"/>
              <a:gd name="connsiteX2" fmla="*/ 1356691 w 3396697"/>
              <a:gd name="connsiteY2" fmla="*/ 0 h 7017587"/>
              <a:gd name="connsiteX3" fmla="*/ 3396697 w 3396697"/>
              <a:gd name="connsiteY3" fmla="*/ 6997148 h 7017587"/>
              <a:gd name="connsiteX4" fmla="*/ 7454 w 3396697"/>
              <a:gd name="connsiteY4" fmla="*/ 7017587 h 7017587"/>
              <a:gd name="connsiteX0" fmla="*/ 7454 w 3376819"/>
              <a:gd name="connsiteY0" fmla="*/ 7017587 h 7017587"/>
              <a:gd name="connsiteX1" fmla="*/ 0 w 3376819"/>
              <a:gd name="connsiteY1" fmla="*/ 0 h 7017587"/>
              <a:gd name="connsiteX2" fmla="*/ 1356691 w 3376819"/>
              <a:gd name="connsiteY2" fmla="*/ 0 h 7017587"/>
              <a:gd name="connsiteX3" fmla="*/ 3376819 w 3376819"/>
              <a:gd name="connsiteY3" fmla="*/ 6997149 h 7017587"/>
              <a:gd name="connsiteX4" fmla="*/ 7454 w 3376819"/>
              <a:gd name="connsiteY4" fmla="*/ 7017587 h 7017587"/>
              <a:gd name="connsiteX0" fmla="*/ 7454 w 3319669"/>
              <a:gd name="connsiteY0" fmla="*/ 7017587 h 7023027"/>
              <a:gd name="connsiteX1" fmla="*/ 0 w 3319669"/>
              <a:gd name="connsiteY1" fmla="*/ 0 h 7023027"/>
              <a:gd name="connsiteX2" fmla="*/ 1356691 w 3319669"/>
              <a:gd name="connsiteY2" fmla="*/ 0 h 7023027"/>
              <a:gd name="connsiteX3" fmla="*/ 3319669 w 3319669"/>
              <a:gd name="connsiteY3" fmla="*/ 7023027 h 7023027"/>
              <a:gd name="connsiteX4" fmla="*/ 7454 w 3319669"/>
              <a:gd name="connsiteY4" fmla="*/ 7017587 h 702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9669" h="7023027">
                <a:moveTo>
                  <a:pt x="7454" y="7017587"/>
                </a:moveTo>
                <a:cubicBezTo>
                  <a:pt x="4969" y="4678391"/>
                  <a:pt x="2485" y="2339196"/>
                  <a:pt x="0" y="0"/>
                </a:cubicBezTo>
                <a:lnTo>
                  <a:pt x="1356691" y="0"/>
                </a:lnTo>
                <a:lnTo>
                  <a:pt x="3319669" y="7023027"/>
                </a:lnTo>
                <a:lnTo>
                  <a:pt x="7454" y="7017587"/>
                </a:lnTo>
                <a:close/>
              </a:path>
            </a:pathLst>
          </a:custGeom>
          <a:solidFill>
            <a:srgbClr val="44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descr="A black and white logo&#10;&#10;Description automatically generated">
            <a:extLst>
              <a:ext uri="{FF2B5EF4-FFF2-40B4-BE49-F238E27FC236}">
                <a16:creationId xmlns:a16="http://schemas.microsoft.com/office/drawing/2014/main" id="{1D497C82-B3DC-31C4-DEE4-65F87F967E50}"/>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570535" y="-30003"/>
            <a:ext cx="565288" cy="565288"/>
          </a:xfrm>
          <a:prstGeom prst="rect">
            <a:avLst/>
          </a:prstGeom>
        </p:spPr>
      </p:pic>
    </p:spTree>
    <p:extLst>
      <p:ext uri="{BB962C8B-B14F-4D97-AF65-F5344CB8AC3E}">
        <p14:creationId xmlns:p14="http://schemas.microsoft.com/office/powerpoint/2010/main" val="4141067873"/>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4197DE11-A3C5-5B49-AC1C-E3F2353B7B7A}" type="datetimeFigureOut">
              <a:rPr lang="en-US" smtClean="0"/>
              <a:t>6/17/2026</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94CA322B-A670-3E4B-AA3F-87CA5F687FD3}" type="slidenum">
              <a:rPr lang="en-US" smtClean="0"/>
              <a:t>‹#›</a:t>
            </a:fld>
            <a:endParaRPr lang="en-US"/>
          </a:p>
        </p:txBody>
      </p:sp>
    </p:spTree>
    <p:extLst>
      <p:ext uri="{BB962C8B-B14F-4D97-AF65-F5344CB8AC3E}">
        <p14:creationId xmlns:p14="http://schemas.microsoft.com/office/powerpoint/2010/main" val="2962819432"/>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 id="2147483848" r:id="rId27"/>
    <p:sldLayoutId id="2147483849" r:id="rId28"/>
    <p:sldLayoutId id="2147483850" r:id="rId29"/>
    <p:sldLayoutId id="2147483851" r:id="rId30"/>
    <p:sldLayoutId id="2147483852" r:id="rId31"/>
    <p:sldLayoutId id="2147483853" r:id="rId32"/>
    <p:sldLayoutId id="2147483854" r:id="rId33"/>
    <p:sldLayoutId id="2147483855" r:id="rId34"/>
    <p:sldLayoutId id="2147483856" r:id="rId35"/>
    <p:sldLayoutId id="2147483857" r:id="rId36"/>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BDAA45-10AB-61E2-8CF1-2C4785E10570}"/>
              </a:ext>
            </a:extLst>
          </p:cNvPr>
          <p:cNvGraphicFramePr>
            <a:graphicFrameLocks noChangeAspect="1"/>
          </p:cNvGraphicFramePr>
          <p:nvPr userDrawn="1">
            <p:custDataLst>
              <p:tags r:id="rId28"/>
            </p:custDataLst>
            <p:extLst>
              <p:ext uri="{D42A27DB-BD31-4B8C-83A1-F6EECF244321}">
                <p14:modId xmlns:p14="http://schemas.microsoft.com/office/powerpoint/2010/main" val="210082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95" imgH="394" progId="TCLayout.ActiveDocument.1">
                  <p:embed/>
                </p:oleObj>
              </mc:Choice>
              <mc:Fallback>
                <p:oleObj name="think-cell Slide" r:id="rId29" imgW="395" imgH="394" progId="TCLayout.ActiveDocument.1">
                  <p:embed/>
                  <p:pic>
                    <p:nvPicPr>
                      <p:cNvPr id="7" name="think-cell data - do not delete" hidden="1">
                        <a:extLst>
                          <a:ext uri="{FF2B5EF4-FFF2-40B4-BE49-F238E27FC236}">
                            <a16:creationId xmlns:a16="http://schemas.microsoft.com/office/drawing/2014/main" id="{73BDAA45-10AB-61E2-8CF1-2C4785E10570}"/>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BBFF9B2-BB0F-F123-7939-648E323D0797}"/>
              </a:ext>
            </a:extLst>
          </p:cNvPr>
          <p:cNvSpPr>
            <a:spLocks noGrp="1"/>
          </p:cNvSpPr>
          <p:nvPr>
            <p:ph type="title"/>
          </p:nvPr>
        </p:nvSpPr>
        <p:spPr>
          <a:xfrm>
            <a:off x="381000" y="346076"/>
            <a:ext cx="11433175" cy="443198"/>
          </a:xfrm>
          <a:prstGeom prst="rect">
            <a:avLst/>
          </a:prstGeom>
        </p:spPr>
        <p:txBody>
          <a:bodyPr vert="horz" lIns="0" tIns="0" rIns="0" bIns="0" rtlCol="0" anchor="t">
            <a:spAutoFit/>
          </a:bodyPr>
          <a:lstStyle/>
          <a:p>
            <a:r>
              <a:rPr lang="en-GB"/>
              <a:t>Write one key sentence making every word count</a:t>
            </a:r>
          </a:p>
        </p:txBody>
      </p:sp>
      <p:sp>
        <p:nvSpPr>
          <p:cNvPr id="3" name="Text Placeholder 2">
            <a:extLst>
              <a:ext uri="{FF2B5EF4-FFF2-40B4-BE49-F238E27FC236}">
                <a16:creationId xmlns:a16="http://schemas.microsoft.com/office/drawing/2014/main" id="{3FC263E0-2FAD-D578-4C53-EDEE4CBA63C3}"/>
              </a:ext>
            </a:extLst>
          </p:cNvPr>
          <p:cNvSpPr>
            <a:spLocks noGrp="1"/>
          </p:cNvSpPr>
          <p:nvPr>
            <p:ph type="body" idx="1"/>
          </p:nvPr>
        </p:nvSpPr>
        <p:spPr>
          <a:xfrm>
            <a:off x="381000" y="1520826"/>
            <a:ext cx="11430000" cy="4575174"/>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a:t>
            </a:r>
          </a:p>
          <a:p>
            <a:pPr lvl="6"/>
            <a:r>
              <a:rPr lang="en-GB"/>
              <a:t>Seventh</a:t>
            </a:r>
          </a:p>
          <a:p>
            <a:pPr lvl="7"/>
            <a:r>
              <a:rPr lang="en-GB"/>
              <a:t>Eighth</a:t>
            </a:r>
          </a:p>
          <a:p>
            <a:pPr lvl="8"/>
            <a:r>
              <a:rPr lang="en-GB"/>
              <a:t>Nineth</a:t>
            </a:r>
          </a:p>
        </p:txBody>
      </p:sp>
      <p:sp>
        <p:nvSpPr>
          <p:cNvPr id="5" name="Footer Placeholder 4">
            <a:extLst>
              <a:ext uri="{FF2B5EF4-FFF2-40B4-BE49-F238E27FC236}">
                <a16:creationId xmlns:a16="http://schemas.microsoft.com/office/drawing/2014/main" id="{4D024AA5-59F8-D48D-BCB4-A4064C08794A}"/>
              </a:ext>
            </a:extLst>
          </p:cNvPr>
          <p:cNvSpPr>
            <a:spLocks noGrp="1"/>
          </p:cNvSpPr>
          <p:nvPr>
            <p:ph type="ftr" sz="quarter" idx="3"/>
          </p:nvPr>
        </p:nvSpPr>
        <p:spPr>
          <a:xfrm>
            <a:off x="8023512" y="6473323"/>
            <a:ext cx="3022313" cy="207393"/>
          </a:xfrm>
          <a:prstGeom prst="rect">
            <a:avLst/>
          </a:prstGeom>
        </p:spPr>
        <p:txBody>
          <a:bodyPr vert="horz" lIns="0" tIns="0" rIns="0" bIns="0" rtlCol="0" anchor="t">
            <a:noAutofit/>
          </a:bodyPr>
          <a:lstStyle>
            <a:lvl1pPr algn="r">
              <a:defRPr sz="800">
                <a:solidFill>
                  <a:schemeClr val="bg2"/>
                </a:solidFill>
              </a:defRPr>
            </a:lvl1pPr>
          </a:lstStyle>
          <a:p>
            <a:r>
              <a:rPr lang="en-GB"/>
              <a:t>Slide footer </a:t>
            </a:r>
          </a:p>
        </p:txBody>
      </p:sp>
      <p:sp>
        <p:nvSpPr>
          <p:cNvPr id="6" name="Slide Number Placeholder 5">
            <a:extLst>
              <a:ext uri="{FF2B5EF4-FFF2-40B4-BE49-F238E27FC236}">
                <a16:creationId xmlns:a16="http://schemas.microsoft.com/office/drawing/2014/main" id="{796F82AE-2E92-544C-389C-276B3C40AD94}"/>
              </a:ext>
            </a:extLst>
          </p:cNvPr>
          <p:cNvSpPr>
            <a:spLocks noGrp="1"/>
          </p:cNvSpPr>
          <p:nvPr>
            <p:ph type="sldNum" sz="quarter" idx="4"/>
          </p:nvPr>
        </p:nvSpPr>
        <p:spPr>
          <a:xfrm>
            <a:off x="11379000" y="6473323"/>
            <a:ext cx="432000" cy="184666"/>
          </a:xfrm>
          <a:prstGeom prst="rect">
            <a:avLst/>
          </a:prstGeom>
        </p:spPr>
        <p:txBody>
          <a:bodyPr vert="horz" lIns="0" tIns="0" rIns="0" bIns="0" rtlCol="0" anchor="t">
            <a:noAutofit/>
          </a:bodyPr>
          <a:lstStyle>
            <a:lvl1pPr algn="r">
              <a:defRPr sz="800">
                <a:solidFill>
                  <a:schemeClr val="bg2"/>
                </a:solidFill>
              </a:defRPr>
            </a:lvl1pPr>
          </a:lstStyle>
          <a:p>
            <a:fld id="{24FD2396-7F2C-D741-B592-F93892A44B62}" type="slidenum">
              <a:rPr lang="en-GB" smtClean="0"/>
              <a:pPr/>
              <a:t>‹#›</a:t>
            </a:fld>
            <a:endParaRPr lang="en-GB"/>
          </a:p>
        </p:txBody>
      </p:sp>
      <p:sp>
        <p:nvSpPr>
          <p:cNvPr id="24" name="Rectangle 23">
            <a:extLst>
              <a:ext uri="{FF2B5EF4-FFF2-40B4-BE49-F238E27FC236}">
                <a16:creationId xmlns:a16="http://schemas.microsoft.com/office/drawing/2014/main" id="{1DD30F07-98E7-D0D4-727E-04D9A1F2F53B}"/>
              </a:ext>
            </a:extLst>
          </p:cNvPr>
          <p:cNvSpPr/>
          <p:nvPr userDrawn="1"/>
        </p:nvSpPr>
        <p:spPr>
          <a:xfrm>
            <a:off x="0" y="383004"/>
            <a:ext cx="93453" cy="76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C0F15515-F680-8574-CAE0-04C6F25E6A33}"/>
              </a:ext>
            </a:extLst>
          </p:cNvPr>
          <p:cNvGrpSpPr>
            <a:grpSpLocks noChangeAspect="1"/>
          </p:cNvGrpSpPr>
          <p:nvPr userDrawn="1"/>
        </p:nvGrpSpPr>
        <p:grpSpPr>
          <a:xfrm>
            <a:off x="221832" y="6304871"/>
            <a:ext cx="318336" cy="320008"/>
            <a:chOff x="104189" y="6358099"/>
            <a:chExt cx="403766" cy="405887"/>
          </a:xfrm>
        </p:grpSpPr>
        <p:sp>
          <p:nvSpPr>
            <p:cNvPr id="14" name="Rectangle 13">
              <a:extLst>
                <a:ext uri="{FF2B5EF4-FFF2-40B4-BE49-F238E27FC236}">
                  <a16:creationId xmlns:a16="http://schemas.microsoft.com/office/drawing/2014/main" id="{42065FEE-EBFE-1089-C1D2-D74634E3F262}"/>
                </a:ext>
              </a:extLst>
            </p:cNvPr>
            <p:cNvSpPr/>
            <p:nvPr/>
          </p:nvSpPr>
          <p:spPr>
            <a:xfrm>
              <a:off x="106016" y="6358099"/>
              <a:ext cx="401939" cy="404986"/>
            </a:xfrm>
            <a:prstGeom prst="rect">
              <a:avLst/>
            </a:prstGeom>
            <a:solidFill>
              <a:srgbClr val="1514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9" name="Freeform 18">
              <a:extLst>
                <a:ext uri="{FF2B5EF4-FFF2-40B4-BE49-F238E27FC236}">
                  <a16:creationId xmlns:a16="http://schemas.microsoft.com/office/drawing/2014/main" id="{AF431091-A620-5FC2-8C28-77137BF40C19}"/>
                </a:ext>
              </a:extLst>
            </p:cNvPr>
            <p:cNvSpPr/>
            <p:nvPr/>
          </p:nvSpPr>
          <p:spPr>
            <a:xfrm>
              <a:off x="104267" y="6599354"/>
              <a:ext cx="17196" cy="32408"/>
            </a:xfrm>
            <a:custGeom>
              <a:avLst/>
              <a:gdLst>
                <a:gd name="connsiteX0" fmla="*/ -51 w 17196"/>
                <a:gd name="connsiteY0" fmla="*/ -30 h 32408"/>
                <a:gd name="connsiteX1" fmla="*/ -51 w 17196"/>
                <a:gd name="connsiteY1" fmla="*/ 32378 h 32408"/>
                <a:gd name="connsiteX2" fmla="*/ 17145 w 17196"/>
                <a:gd name="connsiteY2" fmla="*/ 19965 h 32408"/>
              </a:gdLst>
              <a:ahLst/>
              <a:cxnLst>
                <a:cxn ang="0">
                  <a:pos x="connsiteX0" y="connsiteY0"/>
                </a:cxn>
                <a:cxn ang="0">
                  <a:pos x="connsiteX1" y="connsiteY1"/>
                </a:cxn>
                <a:cxn ang="0">
                  <a:pos x="connsiteX2" y="connsiteY2"/>
                </a:cxn>
              </a:cxnLst>
              <a:rect l="l" t="t" r="r" b="b"/>
              <a:pathLst>
                <a:path w="17196" h="32408">
                  <a:moveTo>
                    <a:pt x="-51" y="-30"/>
                  </a:moveTo>
                  <a:lnTo>
                    <a:pt x="-51" y="32378"/>
                  </a:lnTo>
                  <a:cubicBezTo>
                    <a:pt x="5894" y="28542"/>
                    <a:pt x="11634" y="24398"/>
                    <a:pt x="17145" y="19965"/>
                  </a:cubicBezTo>
                  <a:close/>
                </a:path>
              </a:pathLst>
            </a:custGeom>
            <a:solidFill>
              <a:schemeClr val="bg1"/>
            </a:solidFill>
            <a:ln w="4196" cap="flat">
              <a:noFill/>
              <a:prstDash val="solid"/>
              <a:miter/>
            </a:ln>
          </p:spPr>
          <p:txBody>
            <a:bodyPr rtlCol="0" anchor="ctr"/>
            <a:lstStyle/>
            <a:p>
              <a:endParaRPr lang="en-GB"/>
            </a:p>
          </p:txBody>
        </p:sp>
        <p:sp>
          <p:nvSpPr>
            <p:cNvPr id="20" name="Freeform 19">
              <a:extLst>
                <a:ext uri="{FF2B5EF4-FFF2-40B4-BE49-F238E27FC236}">
                  <a16:creationId xmlns:a16="http://schemas.microsoft.com/office/drawing/2014/main" id="{90DB6DF2-B6AE-7736-A1F6-99052DB2EA2A}"/>
                </a:ext>
              </a:extLst>
            </p:cNvPr>
            <p:cNvSpPr/>
            <p:nvPr/>
          </p:nvSpPr>
          <p:spPr>
            <a:xfrm>
              <a:off x="104267" y="6437037"/>
              <a:ext cx="329799" cy="326949"/>
            </a:xfrm>
            <a:custGeom>
              <a:avLst/>
              <a:gdLst>
                <a:gd name="connsiteX0" fmla="*/ 83367 w 329799"/>
                <a:gd name="connsiteY0" fmla="*/ -30 h 326950"/>
                <a:gd name="connsiteX1" fmla="*/ 146 w 329799"/>
                <a:gd name="connsiteY1" fmla="*/ 14466 h 326950"/>
                <a:gd name="connsiteX2" fmla="*/ 146 w 329799"/>
                <a:gd name="connsiteY2" fmla="*/ 14466 h 326950"/>
                <a:gd name="connsiteX3" fmla="*/ 146 w 329799"/>
                <a:gd name="connsiteY3" fmla="*/ 24404 h 326950"/>
                <a:gd name="connsiteX4" fmla="*/ 8468 w 329799"/>
                <a:gd name="connsiteY4" fmla="*/ 21969 h 326950"/>
                <a:gd name="connsiteX5" fmla="*/ 14503 w 329799"/>
                <a:gd name="connsiteY5" fmla="*/ 20790 h 326950"/>
                <a:gd name="connsiteX6" fmla="*/ 16632 w 329799"/>
                <a:gd name="connsiteY6" fmla="*/ 20476 h 326950"/>
                <a:gd name="connsiteX7" fmla="*/ 78871 w 329799"/>
                <a:gd name="connsiteY7" fmla="*/ 37525 h 326950"/>
                <a:gd name="connsiteX8" fmla="*/ 78871 w 329799"/>
                <a:gd name="connsiteY8" fmla="*/ 37525 h 326950"/>
                <a:gd name="connsiteX9" fmla="*/ 23811 w 329799"/>
                <a:gd name="connsiteY9" fmla="*/ 192849 h 326950"/>
                <a:gd name="connsiteX10" fmla="*/ 422 w 329799"/>
                <a:gd name="connsiteY10" fmla="*/ 210840 h 326950"/>
                <a:gd name="connsiteX11" fmla="*/ -51 w 329799"/>
                <a:gd name="connsiteY11" fmla="*/ 211154 h 326950"/>
                <a:gd name="connsiteX12" fmla="*/ -51 w 329799"/>
                <a:gd name="connsiteY12" fmla="*/ 227653 h 326950"/>
                <a:gd name="connsiteX13" fmla="*/ 6969 w 329799"/>
                <a:gd name="connsiteY13" fmla="*/ 222664 h 326950"/>
                <a:gd name="connsiteX14" fmla="*/ 32291 w 329799"/>
                <a:gd name="connsiteY14" fmla="*/ 263204 h 326950"/>
                <a:gd name="connsiteX15" fmla="*/ 44123 w 329799"/>
                <a:gd name="connsiteY15" fmla="*/ 255348 h 326950"/>
                <a:gd name="connsiteX16" fmla="*/ 65658 w 329799"/>
                <a:gd name="connsiteY16" fmla="*/ 239438 h 326950"/>
                <a:gd name="connsiteX17" fmla="*/ 66604 w 329799"/>
                <a:gd name="connsiteY17" fmla="*/ 238613 h 326950"/>
                <a:gd name="connsiteX18" fmla="*/ 33474 w 329799"/>
                <a:gd name="connsiteY18" fmla="*/ 200705 h 326950"/>
                <a:gd name="connsiteX19" fmla="*/ 57139 w 329799"/>
                <a:gd name="connsiteY19" fmla="*/ 175761 h 326950"/>
                <a:gd name="connsiteX20" fmla="*/ 97842 w 329799"/>
                <a:gd name="connsiteY20" fmla="*/ 208522 h 326950"/>
                <a:gd name="connsiteX21" fmla="*/ 121507 w 329799"/>
                <a:gd name="connsiteY21" fmla="*/ 179218 h 326950"/>
                <a:gd name="connsiteX22" fmla="*/ 74729 w 329799"/>
                <a:gd name="connsiteY22" fmla="*/ 151327 h 326950"/>
                <a:gd name="connsiteX23" fmla="*/ 88179 w 329799"/>
                <a:gd name="connsiteY23" fmla="*/ 126539 h 326950"/>
                <a:gd name="connsiteX24" fmla="*/ 140044 w 329799"/>
                <a:gd name="connsiteY24" fmla="*/ 148263 h 326950"/>
                <a:gd name="connsiteX25" fmla="*/ 150023 w 329799"/>
                <a:gd name="connsiteY25" fmla="*/ 124300 h 326950"/>
                <a:gd name="connsiteX26" fmla="*/ 151166 w 329799"/>
                <a:gd name="connsiteY26" fmla="*/ 120804 h 326950"/>
                <a:gd name="connsiteX27" fmla="*/ 96028 w 329799"/>
                <a:gd name="connsiteY27" fmla="*/ 104737 h 326950"/>
                <a:gd name="connsiteX28" fmla="*/ 99972 w 329799"/>
                <a:gd name="connsiteY28" fmla="*/ 83878 h 326950"/>
                <a:gd name="connsiteX29" fmla="*/ 156767 w 329799"/>
                <a:gd name="connsiteY29" fmla="*/ 94013 h 326950"/>
                <a:gd name="connsiteX30" fmla="*/ 156452 w 329799"/>
                <a:gd name="connsiteY30" fmla="*/ 72015 h 326950"/>
                <a:gd name="connsiteX31" fmla="*/ 99656 w 329799"/>
                <a:gd name="connsiteY31" fmla="*/ 66594 h 326950"/>
                <a:gd name="connsiteX32" fmla="*/ 95712 w 329799"/>
                <a:gd name="connsiteY32" fmla="*/ 51470 h 326950"/>
                <a:gd name="connsiteX33" fmla="*/ 150299 w 329799"/>
                <a:gd name="connsiteY33" fmla="*/ 52373 h 326950"/>
                <a:gd name="connsiteX34" fmla="*/ 145329 w 329799"/>
                <a:gd name="connsiteY34" fmla="*/ 43574 h 326950"/>
                <a:gd name="connsiteX35" fmla="*/ 140675 w 329799"/>
                <a:gd name="connsiteY35" fmla="*/ 37603 h 326950"/>
                <a:gd name="connsiteX36" fmla="*/ 89756 w 329799"/>
                <a:gd name="connsiteY36" fmla="*/ 39921 h 326950"/>
                <a:gd name="connsiteX37" fmla="*/ 81316 w 329799"/>
                <a:gd name="connsiteY37" fmla="*/ 30493 h 326950"/>
                <a:gd name="connsiteX38" fmla="*/ 127462 w 329799"/>
                <a:gd name="connsiteY38" fmla="*/ 25700 h 326950"/>
                <a:gd name="connsiteX39" fmla="*/ 113461 w 329799"/>
                <a:gd name="connsiteY39" fmla="*/ 17844 h 326950"/>
                <a:gd name="connsiteX40" fmla="*/ 72166 w 329799"/>
                <a:gd name="connsiteY40" fmla="*/ 23933 h 326950"/>
                <a:gd name="connsiteX41" fmla="*/ 61832 w 329799"/>
                <a:gd name="connsiteY41" fmla="*/ 19219 h 326950"/>
                <a:gd name="connsiteX42" fmla="*/ 89204 w 329799"/>
                <a:gd name="connsiteY42" fmla="*/ 13091 h 326950"/>
                <a:gd name="connsiteX43" fmla="*/ 89204 w 329799"/>
                <a:gd name="connsiteY43" fmla="*/ 13091 h 326950"/>
                <a:gd name="connsiteX44" fmla="*/ 51538 w 329799"/>
                <a:gd name="connsiteY44" fmla="*/ 16351 h 326950"/>
                <a:gd name="connsiteX45" fmla="*/ 40652 w 329799"/>
                <a:gd name="connsiteY45" fmla="*/ 14819 h 326950"/>
                <a:gd name="connsiteX46" fmla="*/ 66249 w 329799"/>
                <a:gd name="connsiteY46" fmla="*/ 9594 h 326950"/>
                <a:gd name="connsiteX47" fmla="*/ 152429 w 329799"/>
                <a:gd name="connsiteY47" fmla="*/ 40392 h 326950"/>
                <a:gd name="connsiteX48" fmla="*/ 152429 w 329799"/>
                <a:gd name="connsiteY48" fmla="*/ 40392 h 326950"/>
                <a:gd name="connsiteX49" fmla="*/ 133023 w 329799"/>
                <a:gd name="connsiteY49" fmla="*/ 186131 h 326950"/>
                <a:gd name="connsiteX50" fmla="*/ 98552 w 329799"/>
                <a:gd name="connsiteY50" fmla="*/ 228360 h 326950"/>
                <a:gd name="connsiteX51" fmla="*/ 65224 w 329799"/>
                <a:gd name="connsiteY51" fmla="*/ 258490 h 326950"/>
                <a:gd name="connsiteX52" fmla="*/ 11584 w 329799"/>
                <a:gd name="connsiteY52" fmla="*/ 292705 h 326950"/>
                <a:gd name="connsiteX53" fmla="*/ 28 w 329799"/>
                <a:gd name="connsiteY53" fmla="*/ 298480 h 326950"/>
                <a:gd name="connsiteX54" fmla="*/ 28 w 329799"/>
                <a:gd name="connsiteY54" fmla="*/ 315961 h 326950"/>
                <a:gd name="connsiteX55" fmla="*/ 49724 w 329799"/>
                <a:gd name="connsiteY55" fmla="*/ 287245 h 326950"/>
                <a:gd name="connsiteX56" fmla="*/ 75991 w 329799"/>
                <a:gd name="connsiteY56" fmla="*/ 324407 h 326950"/>
                <a:gd name="connsiteX57" fmla="*/ 116695 w 329799"/>
                <a:gd name="connsiteY57" fmla="*/ 294984 h 326950"/>
                <a:gd name="connsiteX58" fmla="*/ 85142 w 329799"/>
                <a:gd name="connsiteY58" fmla="*/ 259629 h 326950"/>
                <a:gd name="connsiteX59" fmla="*/ 117996 w 329799"/>
                <a:gd name="connsiteY59" fmla="*/ 226514 h 326950"/>
                <a:gd name="connsiteX60" fmla="*/ 154243 w 329799"/>
                <a:gd name="connsiteY60" fmla="*/ 258804 h 326950"/>
                <a:gd name="connsiteX61" fmla="*/ 182562 w 329799"/>
                <a:gd name="connsiteY61" fmla="*/ 222154 h 326950"/>
                <a:gd name="connsiteX62" fmla="*/ 143120 w 329799"/>
                <a:gd name="connsiteY62" fmla="*/ 193320 h 326950"/>
                <a:gd name="connsiteX63" fmla="*/ 161855 w 329799"/>
                <a:gd name="connsiteY63" fmla="*/ 159183 h 326950"/>
                <a:gd name="connsiteX64" fmla="*/ 203781 w 329799"/>
                <a:gd name="connsiteY64" fmla="*/ 184089 h 326950"/>
                <a:gd name="connsiteX65" fmla="*/ 215811 w 329799"/>
                <a:gd name="connsiteY65" fmla="*/ 149638 h 326950"/>
                <a:gd name="connsiteX66" fmla="*/ 172701 w 329799"/>
                <a:gd name="connsiteY66" fmla="*/ 128386 h 326950"/>
                <a:gd name="connsiteX67" fmla="*/ 177198 w 329799"/>
                <a:gd name="connsiteY67" fmla="*/ 99277 h 326950"/>
                <a:gd name="connsiteX68" fmla="*/ 220583 w 329799"/>
                <a:gd name="connsiteY68" fmla="*/ 116994 h 326950"/>
                <a:gd name="connsiteX69" fmla="*/ 218729 w 329799"/>
                <a:gd name="connsiteY69" fmla="*/ 90124 h 326950"/>
                <a:gd name="connsiteX70" fmla="*/ 175738 w 329799"/>
                <a:gd name="connsiteY70" fmla="*/ 75315 h 326950"/>
                <a:gd name="connsiteX71" fmla="*/ 169349 w 329799"/>
                <a:gd name="connsiteY71" fmla="*/ 54259 h 326950"/>
                <a:gd name="connsiteX72" fmla="*/ 211393 w 329799"/>
                <a:gd name="connsiteY72" fmla="*/ 66397 h 326950"/>
                <a:gd name="connsiteX73" fmla="*/ 200547 w 329799"/>
                <a:gd name="connsiteY73" fmla="*/ 49270 h 326950"/>
                <a:gd name="connsiteX74" fmla="*/ 159134 w 329799"/>
                <a:gd name="connsiteY74" fmla="*/ 37132 h 326950"/>
                <a:gd name="connsiteX75" fmla="*/ 148721 w 329799"/>
                <a:gd name="connsiteY75" fmla="*/ 26172 h 326950"/>
                <a:gd name="connsiteX76" fmla="*/ 171873 w 329799"/>
                <a:gd name="connsiteY76" fmla="*/ 30611 h 326950"/>
                <a:gd name="connsiteX77" fmla="*/ 138664 w 329799"/>
                <a:gd name="connsiteY77" fmla="*/ 18630 h 326950"/>
                <a:gd name="connsiteX78" fmla="*/ 131051 w 329799"/>
                <a:gd name="connsiteY78" fmla="*/ 14151 h 326950"/>
                <a:gd name="connsiteX79" fmla="*/ 198101 w 329799"/>
                <a:gd name="connsiteY79" fmla="*/ 40706 h 326950"/>
                <a:gd name="connsiteX80" fmla="*/ 204373 w 329799"/>
                <a:gd name="connsiteY80" fmla="*/ 46088 h 326950"/>
                <a:gd name="connsiteX81" fmla="*/ 210644 w 329799"/>
                <a:gd name="connsiteY81" fmla="*/ 53395 h 326950"/>
                <a:gd name="connsiteX82" fmla="*/ 210644 w 329799"/>
                <a:gd name="connsiteY82" fmla="*/ 53395 h 326950"/>
                <a:gd name="connsiteX83" fmla="*/ 102575 w 329799"/>
                <a:gd name="connsiteY83" fmla="*/ 326881 h 326950"/>
                <a:gd name="connsiteX84" fmla="*/ 144856 w 329799"/>
                <a:gd name="connsiteY84" fmla="*/ 326881 h 326950"/>
                <a:gd name="connsiteX85" fmla="*/ 136218 w 329799"/>
                <a:gd name="connsiteY85" fmla="*/ 317336 h 326950"/>
                <a:gd name="connsiteX86" fmla="*/ 173727 w 329799"/>
                <a:gd name="connsiteY86" fmla="*/ 277503 h 326950"/>
                <a:gd name="connsiteX87" fmla="*/ 202046 w 329799"/>
                <a:gd name="connsiteY87" fmla="*/ 305590 h 326950"/>
                <a:gd name="connsiteX88" fmla="*/ 232534 w 329799"/>
                <a:gd name="connsiteY88" fmla="*/ 265443 h 326950"/>
                <a:gd name="connsiteX89" fmla="*/ 201809 w 329799"/>
                <a:gd name="connsiteY89" fmla="*/ 237513 h 326950"/>
                <a:gd name="connsiteX90" fmla="*/ 222358 w 329799"/>
                <a:gd name="connsiteY90" fmla="*/ 196777 h 326950"/>
                <a:gd name="connsiteX91" fmla="*/ 254818 w 329799"/>
                <a:gd name="connsiteY91" fmla="*/ 223725 h 326950"/>
                <a:gd name="connsiteX92" fmla="*/ 267202 w 329799"/>
                <a:gd name="connsiteY92" fmla="*/ 185856 h 326950"/>
                <a:gd name="connsiteX93" fmla="*/ 233796 w 329799"/>
                <a:gd name="connsiteY93" fmla="*/ 160244 h 326950"/>
                <a:gd name="connsiteX94" fmla="*/ 238253 w 329799"/>
                <a:gd name="connsiteY94" fmla="*/ 125832 h 326950"/>
                <a:gd name="connsiteX95" fmla="*/ 271541 w 329799"/>
                <a:gd name="connsiteY95" fmla="*/ 149638 h 326950"/>
                <a:gd name="connsiteX96" fmla="*/ 268701 w 329799"/>
                <a:gd name="connsiteY96" fmla="*/ 119783 h 326950"/>
                <a:gd name="connsiteX97" fmla="*/ 236280 w 329799"/>
                <a:gd name="connsiteY97" fmla="*/ 97666 h 326950"/>
                <a:gd name="connsiteX98" fmla="*/ 229181 w 329799"/>
                <a:gd name="connsiteY98" fmla="*/ 73154 h 326950"/>
                <a:gd name="connsiteX99" fmla="*/ 229181 w 329799"/>
                <a:gd name="connsiteY99" fmla="*/ 73154 h 326950"/>
                <a:gd name="connsiteX100" fmla="*/ 252846 w 329799"/>
                <a:gd name="connsiteY100" fmla="*/ 88003 h 326950"/>
                <a:gd name="connsiteX101" fmla="*/ 222318 w 329799"/>
                <a:gd name="connsiteY101" fmla="*/ 59248 h 326950"/>
                <a:gd name="connsiteX102" fmla="*/ 216008 w 329799"/>
                <a:gd name="connsiteY102" fmla="*/ 50056 h 326950"/>
                <a:gd name="connsiteX103" fmla="*/ 259117 w 329799"/>
                <a:gd name="connsiteY103" fmla="*/ 87728 h 326950"/>
                <a:gd name="connsiteX104" fmla="*/ 271541 w 329799"/>
                <a:gd name="connsiteY104" fmla="*/ 110041 h 326950"/>
                <a:gd name="connsiteX105" fmla="*/ 273947 w 329799"/>
                <a:gd name="connsiteY105" fmla="*/ 117072 h 326950"/>
                <a:gd name="connsiteX106" fmla="*/ 266059 w 329799"/>
                <a:gd name="connsiteY106" fmla="*/ 224628 h 326950"/>
                <a:gd name="connsiteX107" fmla="*/ 202953 w 329799"/>
                <a:gd name="connsiteY107" fmla="*/ 326764 h 326950"/>
                <a:gd name="connsiteX108" fmla="*/ 253240 w 329799"/>
                <a:gd name="connsiteY108" fmla="*/ 326764 h 326950"/>
                <a:gd name="connsiteX109" fmla="*/ 267005 w 329799"/>
                <a:gd name="connsiteY109" fmla="*/ 305747 h 326950"/>
                <a:gd name="connsiteX110" fmla="*/ 248310 w 329799"/>
                <a:gd name="connsiteY110" fmla="*/ 282806 h 326950"/>
                <a:gd name="connsiteX111" fmla="*/ 270358 w 329799"/>
                <a:gd name="connsiteY111" fmla="*/ 239595 h 326950"/>
                <a:gd name="connsiteX112" fmla="*/ 288658 w 329799"/>
                <a:gd name="connsiteY112" fmla="*/ 262536 h 326950"/>
                <a:gd name="connsiteX113" fmla="*/ 300215 w 329799"/>
                <a:gd name="connsiteY113" fmla="*/ 224118 h 326950"/>
                <a:gd name="connsiteX114" fmla="*/ 282703 w 329799"/>
                <a:gd name="connsiteY114" fmla="*/ 201177 h 326950"/>
                <a:gd name="connsiteX115" fmla="*/ 287317 w 329799"/>
                <a:gd name="connsiteY115" fmla="*/ 164644 h 326950"/>
                <a:gd name="connsiteX116" fmla="*/ 301516 w 329799"/>
                <a:gd name="connsiteY116" fmla="*/ 183224 h 326950"/>
                <a:gd name="connsiteX117" fmla="*/ 301516 w 329799"/>
                <a:gd name="connsiteY117" fmla="*/ 183224 h 326950"/>
                <a:gd name="connsiteX118" fmla="*/ 285740 w 329799"/>
                <a:gd name="connsiteY118" fmla="*/ 136360 h 326950"/>
                <a:gd name="connsiteX119" fmla="*/ 285503 w 329799"/>
                <a:gd name="connsiteY119" fmla="*/ 134985 h 326950"/>
                <a:gd name="connsiteX120" fmla="*/ 280021 w 329799"/>
                <a:gd name="connsiteY120" fmla="*/ 114283 h 326950"/>
                <a:gd name="connsiteX121" fmla="*/ 301398 w 329799"/>
                <a:gd name="connsiteY121" fmla="*/ 154862 h 326950"/>
                <a:gd name="connsiteX122" fmla="*/ 309957 w 329799"/>
                <a:gd name="connsiteY122" fmla="*/ 205144 h 326950"/>
                <a:gd name="connsiteX123" fmla="*/ 267755 w 329799"/>
                <a:gd name="connsiteY123" fmla="*/ 326921 h 326950"/>
                <a:gd name="connsiteX124" fmla="*/ 280415 w 329799"/>
                <a:gd name="connsiteY124" fmla="*/ 326921 h 326950"/>
                <a:gd name="connsiteX125" fmla="*/ 301674 w 329799"/>
                <a:gd name="connsiteY125" fmla="*/ 281038 h 326950"/>
                <a:gd name="connsiteX126" fmla="*/ 306683 w 329799"/>
                <a:gd name="connsiteY126" fmla="*/ 296359 h 326950"/>
                <a:gd name="connsiteX127" fmla="*/ 315715 w 329799"/>
                <a:gd name="connsiteY127" fmla="*/ 249573 h 326950"/>
                <a:gd name="connsiteX128" fmla="*/ 313388 w 329799"/>
                <a:gd name="connsiteY128" fmla="*/ 242031 h 326950"/>
                <a:gd name="connsiteX129" fmla="*/ 317332 w 329799"/>
                <a:gd name="connsiteY129" fmla="*/ 212765 h 326950"/>
                <a:gd name="connsiteX130" fmla="*/ 319580 w 329799"/>
                <a:gd name="connsiteY130" fmla="*/ 245330 h 326950"/>
                <a:gd name="connsiteX131" fmla="*/ 312954 w 329799"/>
                <a:gd name="connsiteY131" fmla="*/ 301112 h 326950"/>
                <a:gd name="connsiteX132" fmla="*/ 305066 w 329799"/>
                <a:gd name="connsiteY132" fmla="*/ 326921 h 326950"/>
                <a:gd name="connsiteX133" fmla="*/ 315952 w 329799"/>
                <a:gd name="connsiteY133" fmla="*/ 326921 h 326950"/>
                <a:gd name="connsiteX134" fmla="*/ 163831 w 329799"/>
                <a:gd name="connsiteY134" fmla="*/ 13643 h 326950"/>
                <a:gd name="connsiteX135" fmla="*/ 83367 w 329799"/>
                <a:gd name="connsiteY135" fmla="*/ -30 h 32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29799" h="326950">
                  <a:moveTo>
                    <a:pt x="83367" y="-30"/>
                  </a:moveTo>
                  <a:cubicBezTo>
                    <a:pt x="54991" y="-57"/>
                    <a:pt x="26828" y="4848"/>
                    <a:pt x="146" y="14466"/>
                  </a:cubicBezTo>
                  <a:lnTo>
                    <a:pt x="146" y="14466"/>
                  </a:lnTo>
                  <a:lnTo>
                    <a:pt x="146" y="24404"/>
                  </a:lnTo>
                  <a:cubicBezTo>
                    <a:pt x="2867" y="23423"/>
                    <a:pt x="5647" y="22610"/>
                    <a:pt x="8468" y="21969"/>
                  </a:cubicBezTo>
                  <a:cubicBezTo>
                    <a:pt x="10493" y="21523"/>
                    <a:pt x="12504" y="21131"/>
                    <a:pt x="14503" y="20790"/>
                  </a:cubicBezTo>
                  <a:lnTo>
                    <a:pt x="16632" y="20476"/>
                  </a:lnTo>
                  <a:cubicBezTo>
                    <a:pt x="42821" y="16548"/>
                    <a:pt x="65342" y="22047"/>
                    <a:pt x="78871" y="37525"/>
                  </a:cubicBezTo>
                  <a:lnTo>
                    <a:pt x="78871" y="37525"/>
                  </a:lnTo>
                  <a:cubicBezTo>
                    <a:pt x="108215" y="71465"/>
                    <a:pt x="83683" y="140956"/>
                    <a:pt x="23811" y="192849"/>
                  </a:cubicBezTo>
                  <a:cubicBezTo>
                    <a:pt x="16386" y="199310"/>
                    <a:pt x="8575" y="205318"/>
                    <a:pt x="422" y="210840"/>
                  </a:cubicBezTo>
                  <a:cubicBezTo>
                    <a:pt x="281" y="210967"/>
                    <a:pt x="121" y="211073"/>
                    <a:pt x="-51" y="211154"/>
                  </a:cubicBezTo>
                  <a:lnTo>
                    <a:pt x="-51" y="227653"/>
                  </a:lnTo>
                  <a:cubicBezTo>
                    <a:pt x="2315" y="226043"/>
                    <a:pt x="4682" y="224393"/>
                    <a:pt x="6969" y="222664"/>
                  </a:cubicBezTo>
                  <a:cubicBezTo>
                    <a:pt x="10243" y="228164"/>
                    <a:pt x="31896" y="262615"/>
                    <a:pt x="32291" y="263204"/>
                  </a:cubicBezTo>
                  <a:cubicBezTo>
                    <a:pt x="33908" y="262183"/>
                    <a:pt x="38562" y="259276"/>
                    <a:pt x="44123" y="255348"/>
                  </a:cubicBezTo>
                  <a:cubicBezTo>
                    <a:pt x="50670" y="250909"/>
                    <a:pt x="58558" y="245370"/>
                    <a:pt x="65658" y="239438"/>
                  </a:cubicBezTo>
                  <a:lnTo>
                    <a:pt x="66604" y="238613"/>
                  </a:lnTo>
                  <a:lnTo>
                    <a:pt x="33474" y="200705"/>
                  </a:lnTo>
                  <a:cubicBezTo>
                    <a:pt x="36826" y="197405"/>
                    <a:pt x="48028" y="186328"/>
                    <a:pt x="57139" y="175761"/>
                  </a:cubicBezTo>
                  <a:cubicBezTo>
                    <a:pt x="59229" y="177371"/>
                    <a:pt x="86798" y="198662"/>
                    <a:pt x="97842" y="208522"/>
                  </a:cubicBezTo>
                  <a:cubicBezTo>
                    <a:pt x="106363" y="199278"/>
                    <a:pt x="114268" y="189489"/>
                    <a:pt x="121507" y="179218"/>
                  </a:cubicBezTo>
                  <a:cubicBezTo>
                    <a:pt x="106322" y="169279"/>
                    <a:pt x="74729" y="151327"/>
                    <a:pt x="74729" y="151327"/>
                  </a:cubicBezTo>
                  <a:cubicBezTo>
                    <a:pt x="79801" y="143395"/>
                    <a:pt x="84296" y="135111"/>
                    <a:pt x="88179" y="126539"/>
                  </a:cubicBezTo>
                  <a:cubicBezTo>
                    <a:pt x="88179" y="126539"/>
                    <a:pt x="125017" y="140878"/>
                    <a:pt x="140044" y="148263"/>
                  </a:cubicBezTo>
                  <a:cubicBezTo>
                    <a:pt x="143921" y="140514"/>
                    <a:pt x="147256" y="132508"/>
                    <a:pt x="150023" y="124300"/>
                  </a:cubicBezTo>
                  <a:cubicBezTo>
                    <a:pt x="150417" y="123122"/>
                    <a:pt x="150811" y="121983"/>
                    <a:pt x="151166" y="120804"/>
                  </a:cubicBezTo>
                  <a:cubicBezTo>
                    <a:pt x="133124" y="114360"/>
                    <a:pt x="114712" y="108995"/>
                    <a:pt x="96028" y="104737"/>
                  </a:cubicBezTo>
                  <a:cubicBezTo>
                    <a:pt x="97991" y="97922"/>
                    <a:pt x="99311" y="90939"/>
                    <a:pt x="99972" y="83878"/>
                  </a:cubicBezTo>
                  <a:cubicBezTo>
                    <a:pt x="119122" y="85902"/>
                    <a:pt x="138102" y="89290"/>
                    <a:pt x="156767" y="94013"/>
                  </a:cubicBezTo>
                  <a:cubicBezTo>
                    <a:pt x="157517" y="86693"/>
                    <a:pt x="157412" y="79311"/>
                    <a:pt x="156452" y="72015"/>
                  </a:cubicBezTo>
                  <a:cubicBezTo>
                    <a:pt x="137710" y="68593"/>
                    <a:pt x="118709" y="66780"/>
                    <a:pt x="99656" y="66594"/>
                  </a:cubicBezTo>
                  <a:cubicBezTo>
                    <a:pt x="98960" y="61412"/>
                    <a:pt x="97636" y="56334"/>
                    <a:pt x="95712" y="51470"/>
                  </a:cubicBezTo>
                  <a:cubicBezTo>
                    <a:pt x="113898" y="50130"/>
                    <a:pt x="132168" y="50432"/>
                    <a:pt x="150299" y="52373"/>
                  </a:cubicBezTo>
                  <a:cubicBezTo>
                    <a:pt x="148826" y="49341"/>
                    <a:pt x="147167" y="46402"/>
                    <a:pt x="145329" y="43574"/>
                  </a:cubicBezTo>
                  <a:cubicBezTo>
                    <a:pt x="143870" y="41492"/>
                    <a:pt x="140675" y="37603"/>
                    <a:pt x="140675" y="37603"/>
                  </a:cubicBezTo>
                  <a:cubicBezTo>
                    <a:pt x="123667" y="36679"/>
                    <a:pt x="106609" y="37456"/>
                    <a:pt x="89756" y="39921"/>
                  </a:cubicBezTo>
                  <a:cubicBezTo>
                    <a:pt x="87325" y="36458"/>
                    <a:pt x="84492" y="33294"/>
                    <a:pt x="81316" y="30493"/>
                  </a:cubicBezTo>
                  <a:cubicBezTo>
                    <a:pt x="96490" y="27307"/>
                    <a:pt x="111955" y="25701"/>
                    <a:pt x="127462" y="25700"/>
                  </a:cubicBezTo>
                  <a:cubicBezTo>
                    <a:pt x="123021" y="22701"/>
                    <a:pt x="118338" y="20073"/>
                    <a:pt x="113461" y="17844"/>
                  </a:cubicBezTo>
                  <a:cubicBezTo>
                    <a:pt x="99517" y="18398"/>
                    <a:pt x="85673" y="20440"/>
                    <a:pt x="72166" y="23933"/>
                  </a:cubicBezTo>
                  <a:cubicBezTo>
                    <a:pt x="68900" y="22000"/>
                    <a:pt x="65435" y="20419"/>
                    <a:pt x="61832" y="19219"/>
                  </a:cubicBezTo>
                  <a:cubicBezTo>
                    <a:pt x="70782" y="16472"/>
                    <a:pt x="79934" y="14423"/>
                    <a:pt x="89204" y="13091"/>
                  </a:cubicBezTo>
                  <a:lnTo>
                    <a:pt x="89204" y="13091"/>
                  </a:lnTo>
                  <a:cubicBezTo>
                    <a:pt x="74335" y="11166"/>
                    <a:pt x="53707" y="15801"/>
                    <a:pt x="51538" y="16351"/>
                  </a:cubicBezTo>
                  <a:cubicBezTo>
                    <a:pt x="48343" y="15683"/>
                    <a:pt x="43926" y="15133"/>
                    <a:pt x="40652" y="14819"/>
                  </a:cubicBezTo>
                  <a:cubicBezTo>
                    <a:pt x="49065" y="12538"/>
                    <a:pt x="57614" y="10793"/>
                    <a:pt x="66249" y="9594"/>
                  </a:cubicBezTo>
                  <a:cubicBezTo>
                    <a:pt x="79541" y="7748"/>
                    <a:pt x="123991" y="2288"/>
                    <a:pt x="152429" y="40392"/>
                  </a:cubicBezTo>
                  <a:lnTo>
                    <a:pt x="152429" y="40392"/>
                  </a:lnTo>
                  <a:cubicBezTo>
                    <a:pt x="179327" y="76454"/>
                    <a:pt x="169546" y="132432"/>
                    <a:pt x="133023" y="186131"/>
                  </a:cubicBezTo>
                  <a:cubicBezTo>
                    <a:pt x="122866" y="201237"/>
                    <a:pt x="111326" y="215373"/>
                    <a:pt x="98552" y="228360"/>
                  </a:cubicBezTo>
                  <a:cubicBezTo>
                    <a:pt x="88112" y="239115"/>
                    <a:pt x="76979" y="249179"/>
                    <a:pt x="65224" y="258490"/>
                  </a:cubicBezTo>
                  <a:cubicBezTo>
                    <a:pt x="48637" y="271791"/>
                    <a:pt x="30652" y="283262"/>
                    <a:pt x="11584" y="292705"/>
                  </a:cubicBezTo>
                  <a:cubicBezTo>
                    <a:pt x="7640" y="294709"/>
                    <a:pt x="3696" y="296634"/>
                    <a:pt x="28" y="298480"/>
                  </a:cubicBezTo>
                  <a:lnTo>
                    <a:pt x="28" y="315961"/>
                  </a:lnTo>
                  <a:cubicBezTo>
                    <a:pt x="17466" y="307971"/>
                    <a:pt x="34105" y="298358"/>
                    <a:pt x="49724" y="287245"/>
                  </a:cubicBezTo>
                  <a:lnTo>
                    <a:pt x="75991" y="324407"/>
                  </a:lnTo>
                  <a:cubicBezTo>
                    <a:pt x="90115" y="315383"/>
                    <a:pt x="103705" y="305563"/>
                    <a:pt x="116695" y="294984"/>
                  </a:cubicBezTo>
                  <a:lnTo>
                    <a:pt x="85142" y="259629"/>
                  </a:lnTo>
                  <a:cubicBezTo>
                    <a:pt x="96818" y="249328"/>
                    <a:pt x="107793" y="238265"/>
                    <a:pt x="117996" y="226514"/>
                  </a:cubicBezTo>
                  <a:cubicBezTo>
                    <a:pt x="117996" y="226514"/>
                    <a:pt x="150654" y="255387"/>
                    <a:pt x="154243" y="258804"/>
                  </a:cubicBezTo>
                  <a:cubicBezTo>
                    <a:pt x="164532" y="247263"/>
                    <a:pt x="173995" y="235016"/>
                    <a:pt x="182562" y="222154"/>
                  </a:cubicBezTo>
                  <a:cubicBezTo>
                    <a:pt x="165523" y="208719"/>
                    <a:pt x="143357" y="193556"/>
                    <a:pt x="143120" y="193320"/>
                  </a:cubicBezTo>
                  <a:cubicBezTo>
                    <a:pt x="150069" y="182339"/>
                    <a:pt x="156326" y="170938"/>
                    <a:pt x="161855" y="159183"/>
                  </a:cubicBezTo>
                  <a:cubicBezTo>
                    <a:pt x="161855" y="159183"/>
                    <a:pt x="183429" y="170968"/>
                    <a:pt x="203781" y="184089"/>
                  </a:cubicBezTo>
                  <a:cubicBezTo>
                    <a:pt x="208786" y="172975"/>
                    <a:pt x="212813" y="161448"/>
                    <a:pt x="215811" y="149638"/>
                  </a:cubicBezTo>
                  <a:cubicBezTo>
                    <a:pt x="202440" y="141781"/>
                    <a:pt x="172701" y="128386"/>
                    <a:pt x="172701" y="128386"/>
                  </a:cubicBezTo>
                  <a:cubicBezTo>
                    <a:pt x="175176" y="118858"/>
                    <a:pt x="176682" y="109106"/>
                    <a:pt x="177198" y="99277"/>
                  </a:cubicBezTo>
                  <a:cubicBezTo>
                    <a:pt x="192053" y="104177"/>
                    <a:pt x="206550" y="110097"/>
                    <a:pt x="220583" y="116994"/>
                  </a:cubicBezTo>
                  <a:cubicBezTo>
                    <a:pt x="220922" y="107997"/>
                    <a:pt x="220303" y="98990"/>
                    <a:pt x="218729" y="90124"/>
                  </a:cubicBezTo>
                  <a:cubicBezTo>
                    <a:pt x="204862" y="83943"/>
                    <a:pt x="190476" y="78988"/>
                    <a:pt x="175738" y="75315"/>
                  </a:cubicBezTo>
                  <a:cubicBezTo>
                    <a:pt x="174477" y="68063"/>
                    <a:pt x="172332" y="60992"/>
                    <a:pt x="169349" y="54259"/>
                  </a:cubicBezTo>
                  <a:cubicBezTo>
                    <a:pt x="183690" y="57087"/>
                    <a:pt x="197758" y="61148"/>
                    <a:pt x="211393" y="66397"/>
                  </a:cubicBezTo>
                  <a:cubicBezTo>
                    <a:pt x="208691" y="60163"/>
                    <a:pt x="205031" y="54385"/>
                    <a:pt x="200547" y="49270"/>
                  </a:cubicBezTo>
                  <a:cubicBezTo>
                    <a:pt x="187926" y="42356"/>
                    <a:pt x="159134" y="37132"/>
                    <a:pt x="159134" y="37132"/>
                  </a:cubicBezTo>
                  <a:cubicBezTo>
                    <a:pt x="156004" y="33171"/>
                    <a:pt x="152518" y="29503"/>
                    <a:pt x="148721" y="26172"/>
                  </a:cubicBezTo>
                  <a:cubicBezTo>
                    <a:pt x="157753" y="27429"/>
                    <a:pt x="171873" y="30611"/>
                    <a:pt x="171873" y="30611"/>
                  </a:cubicBezTo>
                  <a:cubicBezTo>
                    <a:pt x="161201" y="25599"/>
                    <a:pt x="150083" y="21588"/>
                    <a:pt x="138664" y="18630"/>
                  </a:cubicBezTo>
                  <a:cubicBezTo>
                    <a:pt x="138664" y="18630"/>
                    <a:pt x="135193" y="16351"/>
                    <a:pt x="131051" y="14151"/>
                  </a:cubicBezTo>
                  <a:cubicBezTo>
                    <a:pt x="131051" y="14151"/>
                    <a:pt x="174437" y="23029"/>
                    <a:pt x="198101" y="40706"/>
                  </a:cubicBezTo>
                  <a:cubicBezTo>
                    <a:pt x="200294" y="42378"/>
                    <a:pt x="202389" y="44175"/>
                    <a:pt x="204373" y="46088"/>
                  </a:cubicBezTo>
                  <a:cubicBezTo>
                    <a:pt x="206676" y="48333"/>
                    <a:pt x="208774" y="50779"/>
                    <a:pt x="210644" y="53395"/>
                  </a:cubicBezTo>
                  <a:lnTo>
                    <a:pt x="210644" y="53395"/>
                  </a:lnTo>
                  <a:cubicBezTo>
                    <a:pt x="257579" y="117386"/>
                    <a:pt x="216994" y="240656"/>
                    <a:pt x="102575" y="326881"/>
                  </a:cubicBezTo>
                  <a:lnTo>
                    <a:pt x="144856" y="326881"/>
                  </a:lnTo>
                  <a:lnTo>
                    <a:pt x="136218" y="317336"/>
                  </a:lnTo>
                  <a:cubicBezTo>
                    <a:pt x="149670" y="304977"/>
                    <a:pt x="162206" y="291664"/>
                    <a:pt x="173727" y="277503"/>
                  </a:cubicBezTo>
                  <a:lnTo>
                    <a:pt x="202046" y="305590"/>
                  </a:lnTo>
                  <a:cubicBezTo>
                    <a:pt x="213223" y="293004"/>
                    <a:pt x="223419" y="279581"/>
                    <a:pt x="232534" y="265443"/>
                  </a:cubicBezTo>
                  <a:cubicBezTo>
                    <a:pt x="232534" y="265443"/>
                    <a:pt x="217625" y="251223"/>
                    <a:pt x="201809" y="237513"/>
                  </a:cubicBezTo>
                  <a:cubicBezTo>
                    <a:pt x="209780" y="224524"/>
                    <a:pt x="216651" y="210899"/>
                    <a:pt x="222358" y="196777"/>
                  </a:cubicBezTo>
                  <a:cubicBezTo>
                    <a:pt x="233642" y="205188"/>
                    <a:pt x="244480" y="214183"/>
                    <a:pt x="254818" y="223725"/>
                  </a:cubicBezTo>
                  <a:cubicBezTo>
                    <a:pt x="260060" y="211491"/>
                    <a:pt x="264205" y="198819"/>
                    <a:pt x="267202" y="185856"/>
                  </a:cubicBezTo>
                  <a:cubicBezTo>
                    <a:pt x="256743" y="176481"/>
                    <a:pt x="245573" y="167918"/>
                    <a:pt x="233796" y="160244"/>
                  </a:cubicBezTo>
                  <a:cubicBezTo>
                    <a:pt x="236375" y="148940"/>
                    <a:pt x="237866" y="137417"/>
                    <a:pt x="238253" y="125832"/>
                  </a:cubicBezTo>
                  <a:cubicBezTo>
                    <a:pt x="249971" y="132867"/>
                    <a:pt x="261101" y="140827"/>
                    <a:pt x="271541" y="149638"/>
                  </a:cubicBezTo>
                  <a:cubicBezTo>
                    <a:pt x="271742" y="139611"/>
                    <a:pt x="270788" y="129594"/>
                    <a:pt x="268701" y="119783"/>
                  </a:cubicBezTo>
                  <a:cubicBezTo>
                    <a:pt x="258675" y="111333"/>
                    <a:pt x="247813" y="103922"/>
                    <a:pt x="236280" y="97666"/>
                  </a:cubicBezTo>
                  <a:cubicBezTo>
                    <a:pt x="234797" y="89267"/>
                    <a:pt x="232419" y="81049"/>
                    <a:pt x="229181" y="73154"/>
                  </a:cubicBezTo>
                  <a:cubicBezTo>
                    <a:pt x="229181" y="73154"/>
                    <a:pt x="229181" y="73154"/>
                    <a:pt x="229181" y="73154"/>
                  </a:cubicBezTo>
                  <a:cubicBezTo>
                    <a:pt x="237436" y="77501"/>
                    <a:pt x="245344" y="82464"/>
                    <a:pt x="252846" y="88003"/>
                  </a:cubicBezTo>
                  <a:cubicBezTo>
                    <a:pt x="243798" y="77296"/>
                    <a:pt x="233555" y="67650"/>
                    <a:pt x="222318" y="59248"/>
                  </a:cubicBezTo>
                  <a:cubicBezTo>
                    <a:pt x="220405" y="56058"/>
                    <a:pt x="218299" y="52988"/>
                    <a:pt x="216008" y="50056"/>
                  </a:cubicBezTo>
                  <a:cubicBezTo>
                    <a:pt x="231855" y="60831"/>
                    <a:pt x="246330" y="73481"/>
                    <a:pt x="259117" y="87728"/>
                  </a:cubicBezTo>
                  <a:cubicBezTo>
                    <a:pt x="264371" y="94494"/>
                    <a:pt x="268563" y="102018"/>
                    <a:pt x="271541" y="110041"/>
                  </a:cubicBezTo>
                  <a:cubicBezTo>
                    <a:pt x="272448" y="112398"/>
                    <a:pt x="273237" y="114754"/>
                    <a:pt x="273947" y="117072"/>
                  </a:cubicBezTo>
                  <a:cubicBezTo>
                    <a:pt x="284478" y="152427"/>
                    <a:pt x="277891" y="192102"/>
                    <a:pt x="266059" y="224628"/>
                  </a:cubicBezTo>
                  <a:cubicBezTo>
                    <a:pt x="251663" y="262325"/>
                    <a:pt x="230254" y="296975"/>
                    <a:pt x="202953" y="326764"/>
                  </a:cubicBezTo>
                  <a:lnTo>
                    <a:pt x="253240" y="326764"/>
                  </a:lnTo>
                  <a:cubicBezTo>
                    <a:pt x="258091" y="319850"/>
                    <a:pt x="262509" y="313290"/>
                    <a:pt x="267005" y="305747"/>
                  </a:cubicBezTo>
                  <a:cubicBezTo>
                    <a:pt x="263653" y="300680"/>
                    <a:pt x="248310" y="282806"/>
                    <a:pt x="248310" y="282806"/>
                  </a:cubicBezTo>
                  <a:cubicBezTo>
                    <a:pt x="256825" y="269024"/>
                    <a:pt x="264201" y="254572"/>
                    <a:pt x="270358" y="239595"/>
                  </a:cubicBezTo>
                  <a:cubicBezTo>
                    <a:pt x="276885" y="246893"/>
                    <a:pt x="282995" y="254552"/>
                    <a:pt x="288658" y="262536"/>
                  </a:cubicBezTo>
                  <a:cubicBezTo>
                    <a:pt x="293703" y="250116"/>
                    <a:pt x="297572" y="237254"/>
                    <a:pt x="300215" y="224118"/>
                  </a:cubicBezTo>
                  <a:cubicBezTo>
                    <a:pt x="294882" y="216100"/>
                    <a:pt x="289033" y="208436"/>
                    <a:pt x="282703" y="201177"/>
                  </a:cubicBezTo>
                  <a:cubicBezTo>
                    <a:pt x="285436" y="189178"/>
                    <a:pt x="286982" y="176942"/>
                    <a:pt x="287317" y="164644"/>
                  </a:cubicBezTo>
                  <a:cubicBezTo>
                    <a:pt x="293352" y="171832"/>
                    <a:pt x="301516" y="183224"/>
                    <a:pt x="301516" y="183224"/>
                  </a:cubicBezTo>
                  <a:lnTo>
                    <a:pt x="301516" y="183224"/>
                  </a:lnTo>
                  <a:cubicBezTo>
                    <a:pt x="299722" y="166651"/>
                    <a:pt x="294338" y="150662"/>
                    <a:pt x="285740" y="136360"/>
                  </a:cubicBezTo>
                  <a:cubicBezTo>
                    <a:pt x="285688" y="135897"/>
                    <a:pt x="285610" y="135438"/>
                    <a:pt x="285503" y="134985"/>
                  </a:cubicBezTo>
                  <a:cubicBezTo>
                    <a:pt x="284087" y="127983"/>
                    <a:pt x="282257" y="121070"/>
                    <a:pt x="280021" y="114283"/>
                  </a:cubicBezTo>
                  <a:cubicBezTo>
                    <a:pt x="288477" y="127071"/>
                    <a:pt x="295639" y="140664"/>
                    <a:pt x="301398" y="154862"/>
                  </a:cubicBezTo>
                  <a:cubicBezTo>
                    <a:pt x="307275" y="170971"/>
                    <a:pt x="310174" y="188006"/>
                    <a:pt x="309957" y="205144"/>
                  </a:cubicBezTo>
                  <a:cubicBezTo>
                    <a:pt x="309957" y="215201"/>
                    <a:pt x="307945" y="267643"/>
                    <a:pt x="267755" y="326921"/>
                  </a:cubicBezTo>
                  <a:lnTo>
                    <a:pt x="280415" y="326921"/>
                  </a:lnTo>
                  <a:cubicBezTo>
                    <a:pt x="288441" y="312076"/>
                    <a:pt x="295541" y="296752"/>
                    <a:pt x="301674" y="281038"/>
                  </a:cubicBezTo>
                  <a:cubicBezTo>
                    <a:pt x="301674" y="281549"/>
                    <a:pt x="304632" y="288895"/>
                    <a:pt x="306683" y="296359"/>
                  </a:cubicBezTo>
                  <a:cubicBezTo>
                    <a:pt x="311022" y="281046"/>
                    <a:pt x="314047" y="265396"/>
                    <a:pt x="315715" y="249573"/>
                  </a:cubicBezTo>
                  <a:cubicBezTo>
                    <a:pt x="315202" y="247491"/>
                    <a:pt x="314059" y="244113"/>
                    <a:pt x="313388" y="242031"/>
                  </a:cubicBezTo>
                  <a:cubicBezTo>
                    <a:pt x="315246" y="232356"/>
                    <a:pt x="316563" y="222586"/>
                    <a:pt x="317332" y="212765"/>
                  </a:cubicBezTo>
                  <a:cubicBezTo>
                    <a:pt x="318819" y="223557"/>
                    <a:pt x="319568" y="234437"/>
                    <a:pt x="319580" y="245330"/>
                  </a:cubicBezTo>
                  <a:cubicBezTo>
                    <a:pt x="319600" y="264120"/>
                    <a:pt x="317376" y="282845"/>
                    <a:pt x="312954" y="301112"/>
                  </a:cubicBezTo>
                  <a:cubicBezTo>
                    <a:pt x="310706" y="309990"/>
                    <a:pt x="307985" y="318711"/>
                    <a:pt x="305066" y="326921"/>
                  </a:cubicBezTo>
                  <a:lnTo>
                    <a:pt x="315952" y="326921"/>
                  </a:lnTo>
                  <a:cubicBezTo>
                    <a:pt x="360804" y="198573"/>
                    <a:pt x="292697" y="58314"/>
                    <a:pt x="163831" y="13643"/>
                  </a:cubicBezTo>
                  <a:cubicBezTo>
                    <a:pt x="137957" y="4673"/>
                    <a:pt x="110764" y="53"/>
                    <a:pt x="83367" y="-30"/>
                  </a:cubicBezTo>
                  <a:close/>
                </a:path>
              </a:pathLst>
            </a:custGeom>
            <a:solidFill>
              <a:schemeClr val="bg1"/>
            </a:solidFill>
            <a:ln w="4196" cap="flat">
              <a:noFill/>
              <a:prstDash val="solid"/>
              <a:miter/>
            </a:ln>
          </p:spPr>
          <p:txBody>
            <a:bodyPr rtlCol="0" anchor="ctr"/>
            <a:lstStyle/>
            <a:p>
              <a:endParaRPr lang="en-GB"/>
            </a:p>
          </p:txBody>
        </p:sp>
        <p:sp>
          <p:nvSpPr>
            <p:cNvPr id="21" name="Freeform 20">
              <a:extLst>
                <a:ext uri="{FF2B5EF4-FFF2-40B4-BE49-F238E27FC236}">
                  <a16:creationId xmlns:a16="http://schemas.microsoft.com/office/drawing/2014/main" id="{B5BEDDBC-57DA-2087-C656-484C0C072AED}"/>
                </a:ext>
              </a:extLst>
            </p:cNvPr>
            <p:cNvSpPr/>
            <p:nvPr/>
          </p:nvSpPr>
          <p:spPr>
            <a:xfrm>
              <a:off x="104189" y="6461511"/>
              <a:ext cx="23191" cy="15673"/>
            </a:xfrm>
            <a:custGeom>
              <a:avLst/>
              <a:gdLst>
                <a:gd name="connsiteX0" fmla="*/ 7837 w 23191"/>
                <a:gd name="connsiteY0" fmla="*/ 2091 h 15673"/>
                <a:gd name="connsiteX1" fmla="*/ -51 w 23191"/>
                <a:gd name="connsiteY1" fmla="*/ 7787 h 15673"/>
                <a:gd name="connsiteX2" fmla="*/ -51 w 23191"/>
                <a:gd name="connsiteY2" fmla="*/ 15644 h 15673"/>
                <a:gd name="connsiteX3" fmla="*/ 23140 w 23191"/>
                <a:gd name="connsiteY3" fmla="*/ -30 h 15673"/>
                <a:gd name="connsiteX4" fmla="*/ 7837 w 23191"/>
                <a:gd name="connsiteY4" fmla="*/ 2091 h 15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91" h="15673">
                  <a:moveTo>
                    <a:pt x="7837" y="2091"/>
                  </a:moveTo>
                  <a:cubicBezTo>
                    <a:pt x="5155" y="3859"/>
                    <a:pt x="2552" y="5784"/>
                    <a:pt x="-51" y="7787"/>
                  </a:cubicBezTo>
                  <a:lnTo>
                    <a:pt x="-51" y="15644"/>
                  </a:lnTo>
                  <a:cubicBezTo>
                    <a:pt x="7287" y="9865"/>
                    <a:pt x="15038" y="4627"/>
                    <a:pt x="23140" y="-30"/>
                  </a:cubicBezTo>
                  <a:cubicBezTo>
                    <a:pt x="17994" y="307"/>
                    <a:pt x="12880" y="1016"/>
                    <a:pt x="7837" y="2091"/>
                  </a:cubicBezTo>
                  <a:close/>
                </a:path>
              </a:pathLst>
            </a:custGeom>
            <a:solidFill>
              <a:schemeClr val="bg1"/>
            </a:solidFill>
            <a:ln w="4196" cap="flat">
              <a:noFill/>
              <a:prstDash val="solid"/>
              <a:miter/>
            </a:ln>
          </p:spPr>
          <p:txBody>
            <a:bodyPr rtlCol="0" anchor="ctr"/>
            <a:lstStyle/>
            <a:p>
              <a:endParaRPr lang="en-GB"/>
            </a:p>
          </p:txBody>
        </p:sp>
        <p:sp>
          <p:nvSpPr>
            <p:cNvPr id="25" name="Freeform 24">
              <a:extLst>
                <a:ext uri="{FF2B5EF4-FFF2-40B4-BE49-F238E27FC236}">
                  <a16:creationId xmlns:a16="http://schemas.microsoft.com/office/drawing/2014/main" id="{52321FEE-B770-6106-2A3F-5A608043D7AA}"/>
                </a:ext>
              </a:extLst>
            </p:cNvPr>
            <p:cNvSpPr/>
            <p:nvPr/>
          </p:nvSpPr>
          <p:spPr>
            <a:xfrm>
              <a:off x="104267" y="6461511"/>
              <a:ext cx="81863" cy="137725"/>
            </a:xfrm>
            <a:custGeom>
              <a:avLst/>
              <a:gdLst>
                <a:gd name="connsiteX0" fmla="*/ 38838 w 81863"/>
                <a:gd name="connsiteY0" fmla="*/ 137696 h 137725"/>
                <a:gd name="connsiteX1" fmla="*/ 55443 w 81863"/>
                <a:gd name="connsiteY1" fmla="*/ 117740 h 137725"/>
                <a:gd name="connsiteX2" fmla="*/ 9296 w 81863"/>
                <a:gd name="connsiteY2" fmla="*/ 96095 h 137725"/>
                <a:gd name="connsiteX3" fmla="*/ 16396 w 81863"/>
                <a:gd name="connsiteY3" fmla="*/ 82346 h 137725"/>
                <a:gd name="connsiteX4" fmla="*/ 69050 w 81863"/>
                <a:gd name="connsiteY4" fmla="*/ 95938 h 137725"/>
                <a:gd name="connsiteX5" fmla="*/ 76938 w 81863"/>
                <a:gd name="connsiteY5" fmla="*/ 76886 h 137725"/>
                <a:gd name="connsiteX6" fmla="*/ 20103 w 81863"/>
                <a:gd name="connsiteY6" fmla="*/ 70915 h 137725"/>
                <a:gd name="connsiteX7" fmla="*/ 21760 w 81863"/>
                <a:gd name="connsiteY7" fmla="*/ 59562 h 137725"/>
                <a:gd name="connsiteX8" fmla="*/ 81198 w 81863"/>
                <a:gd name="connsiteY8" fmla="*/ 58187 h 137725"/>
                <a:gd name="connsiteX9" fmla="*/ 81592 w 81863"/>
                <a:gd name="connsiteY9" fmla="*/ 43063 h 137725"/>
                <a:gd name="connsiteX10" fmla="*/ 21405 w 81863"/>
                <a:gd name="connsiteY10" fmla="*/ 50920 h 137725"/>
                <a:gd name="connsiteX11" fmla="*/ 19551 w 81863"/>
                <a:gd name="connsiteY11" fmla="*/ 43063 h 137725"/>
                <a:gd name="connsiteX12" fmla="*/ 78713 w 81863"/>
                <a:gd name="connsiteY12" fmla="*/ 29511 h 137725"/>
                <a:gd name="connsiteX13" fmla="*/ 73112 w 81863"/>
                <a:gd name="connsiteY13" fmla="*/ 19101 h 137725"/>
                <a:gd name="connsiteX14" fmla="*/ 17264 w 81863"/>
                <a:gd name="connsiteY14" fmla="*/ 36542 h 137725"/>
                <a:gd name="connsiteX15" fmla="*/ 16830 w 81863"/>
                <a:gd name="connsiteY15" fmla="*/ 36542 h 137725"/>
                <a:gd name="connsiteX16" fmla="*/ 12886 w 81863"/>
                <a:gd name="connsiteY16" fmla="*/ 31161 h 137725"/>
                <a:gd name="connsiteX17" fmla="*/ 64790 w 81863"/>
                <a:gd name="connsiteY17" fmla="*/ 10537 h 137725"/>
                <a:gd name="connsiteX18" fmla="*/ 55561 w 81863"/>
                <a:gd name="connsiteY18" fmla="*/ 5038 h 137725"/>
                <a:gd name="connsiteX19" fmla="*/ 8902 w 81863"/>
                <a:gd name="connsiteY19" fmla="*/ 27232 h 137725"/>
                <a:gd name="connsiteX20" fmla="*/ 4169 w 81863"/>
                <a:gd name="connsiteY20" fmla="*/ 23893 h 137725"/>
                <a:gd name="connsiteX21" fmla="*/ 44912 w 81863"/>
                <a:gd name="connsiteY21" fmla="*/ 1502 h 137725"/>
                <a:gd name="connsiteX22" fmla="*/ 34381 w 81863"/>
                <a:gd name="connsiteY22" fmla="*/ -30 h 137725"/>
                <a:gd name="connsiteX23" fmla="*/ -51 w 81863"/>
                <a:gd name="connsiteY23" fmla="*/ 21615 h 137725"/>
                <a:gd name="connsiteX24" fmla="*/ -51 w 81863"/>
                <a:gd name="connsiteY24" fmla="*/ 21615 h 137725"/>
                <a:gd name="connsiteX25" fmla="*/ -51 w 81863"/>
                <a:gd name="connsiteY25" fmla="*/ 30611 h 137725"/>
                <a:gd name="connsiteX26" fmla="*/ 3893 w 81863"/>
                <a:gd name="connsiteY26" fmla="*/ 33478 h 137725"/>
                <a:gd name="connsiteX27" fmla="*/ -51 w 81863"/>
                <a:gd name="connsiteY27" fmla="*/ 92049 h 137725"/>
                <a:gd name="connsiteX28" fmla="*/ -51 w 81863"/>
                <a:gd name="connsiteY28" fmla="*/ 110237 h 137725"/>
                <a:gd name="connsiteX29" fmla="*/ 29885 w 81863"/>
                <a:gd name="connsiteY29" fmla="*/ 131057 h 137725"/>
                <a:gd name="connsiteX30" fmla="*/ 38838 w 81863"/>
                <a:gd name="connsiteY30" fmla="*/ 137696 h 13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1863" h="137725">
                  <a:moveTo>
                    <a:pt x="38838" y="137696"/>
                  </a:moveTo>
                  <a:cubicBezTo>
                    <a:pt x="44809" y="131416"/>
                    <a:pt x="50356" y="124749"/>
                    <a:pt x="55443" y="117740"/>
                  </a:cubicBezTo>
                  <a:cubicBezTo>
                    <a:pt x="42782" y="110630"/>
                    <a:pt x="9296" y="96095"/>
                    <a:pt x="9296" y="96095"/>
                  </a:cubicBezTo>
                  <a:cubicBezTo>
                    <a:pt x="12065" y="91729"/>
                    <a:pt x="14440" y="87128"/>
                    <a:pt x="16396" y="82346"/>
                  </a:cubicBezTo>
                  <a:cubicBezTo>
                    <a:pt x="23614" y="83996"/>
                    <a:pt x="50986" y="90556"/>
                    <a:pt x="69050" y="95938"/>
                  </a:cubicBezTo>
                  <a:cubicBezTo>
                    <a:pt x="72171" y="89800"/>
                    <a:pt x="74809" y="83431"/>
                    <a:pt x="76938" y="76886"/>
                  </a:cubicBezTo>
                  <a:cubicBezTo>
                    <a:pt x="58145" y="73656"/>
                    <a:pt x="39159" y="71661"/>
                    <a:pt x="20103" y="70915"/>
                  </a:cubicBezTo>
                  <a:cubicBezTo>
                    <a:pt x="21049" y="67198"/>
                    <a:pt x="21604" y="63393"/>
                    <a:pt x="21760" y="59562"/>
                  </a:cubicBezTo>
                  <a:cubicBezTo>
                    <a:pt x="23337" y="59562"/>
                    <a:pt x="64080" y="57284"/>
                    <a:pt x="81198" y="58187"/>
                  </a:cubicBezTo>
                  <a:cubicBezTo>
                    <a:pt x="81853" y="53173"/>
                    <a:pt x="81985" y="48104"/>
                    <a:pt x="81592" y="43063"/>
                  </a:cubicBezTo>
                  <a:cubicBezTo>
                    <a:pt x="61345" y="44008"/>
                    <a:pt x="41213" y="46636"/>
                    <a:pt x="21405" y="50920"/>
                  </a:cubicBezTo>
                  <a:cubicBezTo>
                    <a:pt x="21021" y="48252"/>
                    <a:pt x="20401" y="45623"/>
                    <a:pt x="19551" y="43063"/>
                  </a:cubicBezTo>
                  <a:cubicBezTo>
                    <a:pt x="38830" y="36810"/>
                    <a:pt x="58628" y="32275"/>
                    <a:pt x="78713" y="29511"/>
                  </a:cubicBezTo>
                  <a:cubicBezTo>
                    <a:pt x="77345" y="25797"/>
                    <a:pt x="75459" y="22293"/>
                    <a:pt x="73112" y="19101"/>
                  </a:cubicBezTo>
                  <a:cubicBezTo>
                    <a:pt x="54017" y="23268"/>
                    <a:pt x="35328" y="29104"/>
                    <a:pt x="17264" y="36542"/>
                  </a:cubicBezTo>
                  <a:lnTo>
                    <a:pt x="16830" y="36542"/>
                  </a:lnTo>
                  <a:cubicBezTo>
                    <a:pt x="15691" y="34627"/>
                    <a:pt x="14370" y="32825"/>
                    <a:pt x="12886" y="31161"/>
                  </a:cubicBezTo>
                  <a:cubicBezTo>
                    <a:pt x="29536" y="22760"/>
                    <a:pt x="46906" y="15858"/>
                    <a:pt x="64790" y="10537"/>
                  </a:cubicBezTo>
                  <a:cubicBezTo>
                    <a:pt x="61936" y="8357"/>
                    <a:pt x="58839" y="6512"/>
                    <a:pt x="55561" y="5038"/>
                  </a:cubicBezTo>
                  <a:cubicBezTo>
                    <a:pt x="39289" y="10833"/>
                    <a:pt x="23655" y="18270"/>
                    <a:pt x="8902" y="27232"/>
                  </a:cubicBezTo>
                  <a:cubicBezTo>
                    <a:pt x="7406" y="26008"/>
                    <a:pt x="5825" y="24892"/>
                    <a:pt x="4169" y="23893"/>
                  </a:cubicBezTo>
                  <a:cubicBezTo>
                    <a:pt x="16955" y="15077"/>
                    <a:pt x="30606" y="7575"/>
                    <a:pt x="44912" y="1502"/>
                  </a:cubicBezTo>
                  <a:cubicBezTo>
                    <a:pt x="41443" y="739"/>
                    <a:pt x="37924" y="227"/>
                    <a:pt x="34381" y="-30"/>
                  </a:cubicBezTo>
                  <a:cubicBezTo>
                    <a:pt x="22170" y="5956"/>
                    <a:pt x="10628" y="13211"/>
                    <a:pt x="-51" y="21615"/>
                  </a:cubicBezTo>
                  <a:lnTo>
                    <a:pt x="-51" y="21615"/>
                  </a:lnTo>
                  <a:lnTo>
                    <a:pt x="-51" y="30611"/>
                  </a:lnTo>
                  <a:cubicBezTo>
                    <a:pt x="1354" y="31437"/>
                    <a:pt x="2675" y="32398"/>
                    <a:pt x="3893" y="33478"/>
                  </a:cubicBezTo>
                  <a:cubicBezTo>
                    <a:pt x="17303" y="45577"/>
                    <a:pt x="15134" y="70404"/>
                    <a:pt x="-51" y="92049"/>
                  </a:cubicBezTo>
                  <a:lnTo>
                    <a:pt x="-51" y="110237"/>
                  </a:lnTo>
                  <a:lnTo>
                    <a:pt x="29885" y="131057"/>
                  </a:lnTo>
                  <a:cubicBezTo>
                    <a:pt x="32777" y="133099"/>
                    <a:pt x="35761" y="135312"/>
                    <a:pt x="38838" y="137696"/>
                  </a:cubicBezTo>
                  <a:close/>
                </a:path>
              </a:pathLst>
            </a:custGeom>
            <a:solidFill>
              <a:schemeClr val="bg1"/>
            </a:solidFill>
            <a:ln w="4196" cap="flat">
              <a:noFill/>
              <a:prstDash val="solid"/>
              <a:miter/>
            </a:ln>
          </p:spPr>
          <p:txBody>
            <a:bodyPr rtlCol="0" anchor="ctr"/>
            <a:lstStyle/>
            <a:p>
              <a:endParaRPr lang="en-GB"/>
            </a:p>
          </p:txBody>
        </p:sp>
      </p:grpSp>
    </p:spTree>
    <p:extLst>
      <p:ext uri="{BB962C8B-B14F-4D97-AF65-F5344CB8AC3E}">
        <p14:creationId xmlns:p14="http://schemas.microsoft.com/office/powerpoint/2010/main" val="972076046"/>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 id="2147483880" r:id="rId21"/>
    <p:sldLayoutId id="2147483881" r:id="rId22"/>
    <p:sldLayoutId id="2147483882" r:id="rId23"/>
    <p:sldLayoutId id="2147483883" r:id="rId24"/>
    <p:sldLayoutId id="2147483884" r:id="rId25"/>
    <p:sldLayoutId id="2147483885" r:id="rId26"/>
  </p:sldLayoutIdLst>
  <p:hf hd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70000" indent="-270000" algn="l" defTabSz="914400" rtl="0" eaLnBrk="1" latinLnBrk="0" hangingPunct="1">
        <a:lnSpc>
          <a:spcPct val="100000"/>
        </a:lnSpc>
        <a:spcBef>
          <a:spcPts val="600"/>
        </a:spcBef>
        <a:spcAft>
          <a:spcPts val="600"/>
        </a:spcAft>
        <a:buFont typeface="Arial" panose="020B0604020202020204" pitchFamily="34" charset="0"/>
        <a:buChar char="•"/>
        <a:defRPr sz="1600" kern="1200">
          <a:solidFill>
            <a:schemeClr val="tx2"/>
          </a:solidFill>
          <a:latin typeface="+mn-lt"/>
          <a:ea typeface="+mn-ea"/>
          <a:cs typeface="+mn-cs"/>
        </a:defRPr>
      </a:lvl1pPr>
      <a:lvl2pPr marL="540000" indent="-27000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2"/>
          </a:solidFill>
          <a:latin typeface="+mn-lt"/>
          <a:ea typeface="+mn-ea"/>
          <a:cs typeface="+mn-cs"/>
        </a:defRPr>
      </a:lvl2pPr>
      <a:lvl3pPr marL="810000" indent="-270000" algn="l" defTabSz="914400" rtl="0" eaLnBrk="1" latinLnBrk="0" hangingPunct="1">
        <a:lnSpc>
          <a:spcPct val="100000"/>
        </a:lnSpc>
        <a:spcBef>
          <a:spcPts val="0"/>
        </a:spcBef>
        <a:spcAft>
          <a:spcPts val="600"/>
        </a:spcAft>
        <a:buFont typeface="System Font Regular"/>
        <a:buChar char="–"/>
        <a:tabLst/>
        <a:defRPr sz="1400" kern="1200">
          <a:solidFill>
            <a:schemeClr val="tx2"/>
          </a:solidFill>
          <a:latin typeface="+mn-lt"/>
          <a:ea typeface="+mn-ea"/>
          <a:cs typeface="+mn-cs"/>
        </a:defRPr>
      </a:lvl3pPr>
      <a:lvl4pPr marL="12700" indent="0" algn="l" defTabSz="914400" rtl="0" eaLnBrk="1" latinLnBrk="0" hangingPunct="1">
        <a:lnSpc>
          <a:spcPct val="100000"/>
        </a:lnSpc>
        <a:spcBef>
          <a:spcPts val="0"/>
        </a:spcBef>
        <a:spcAft>
          <a:spcPts val="600"/>
        </a:spcAft>
        <a:buFont typeface="System Font Regular"/>
        <a:buNone/>
        <a:tabLst/>
        <a:defRPr sz="1400" kern="1200">
          <a:solidFill>
            <a:schemeClr val="tx2"/>
          </a:solidFill>
          <a:latin typeface="+mn-lt"/>
          <a:ea typeface="+mn-ea"/>
          <a:cs typeface="+mn-cs"/>
        </a:defRPr>
      </a:lvl4pPr>
      <a:lvl5pPr marL="0" indent="0" algn="l" defTabSz="914400" rtl="0" eaLnBrk="1" latinLnBrk="0" hangingPunct="1">
        <a:lnSpc>
          <a:spcPct val="100000"/>
        </a:lnSpc>
        <a:spcBef>
          <a:spcPts val="600"/>
        </a:spcBef>
        <a:spcAft>
          <a:spcPts val="600"/>
        </a:spcAft>
        <a:buFont typeface="Arial" panose="020B0604020202020204" pitchFamily="34" charset="0"/>
        <a:buNone/>
        <a:defRPr sz="1400" kern="1200">
          <a:solidFill>
            <a:schemeClr val="tx2"/>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400" kern="1200">
          <a:solidFill>
            <a:schemeClr val="tx2"/>
          </a:solidFill>
          <a:latin typeface="+mn-lt"/>
          <a:ea typeface="+mn-ea"/>
          <a:cs typeface="+mn-cs"/>
        </a:defRPr>
      </a:lvl6pPr>
      <a:lvl7pPr marL="0" indent="0" algn="l" defTabSz="914400" rtl="0" eaLnBrk="1" latinLnBrk="0" hangingPunct="1">
        <a:lnSpc>
          <a:spcPct val="100000"/>
        </a:lnSpc>
        <a:spcBef>
          <a:spcPts val="600"/>
        </a:spcBef>
        <a:spcAft>
          <a:spcPts val="600"/>
        </a:spcAft>
        <a:buFont typeface="Arial" panose="020B0604020202020204" pitchFamily="34" charset="0"/>
        <a:buNone/>
        <a:defRPr sz="1400" kern="1200">
          <a:solidFill>
            <a:schemeClr val="tx2"/>
          </a:solidFill>
          <a:latin typeface="+mn-lt"/>
          <a:ea typeface="+mn-ea"/>
          <a:cs typeface="+mn-cs"/>
        </a:defRPr>
      </a:lvl7pPr>
      <a:lvl8pPr marL="0" indent="0" algn="l" defTabSz="914400" rtl="0" eaLnBrk="1" latinLnBrk="0" hangingPunct="1">
        <a:lnSpc>
          <a:spcPct val="100000"/>
        </a:lnSpc>
        <a:spcBef>
          <a:spcPts val="600"/>
        </a:spcBef>
        <a:spcAft>
          <a:spcPts val="600"/>
        </a:spcAft>
        <a:buFont typeface="Arial" panose="020B0604020202020204" pitchFamily="34" charset="0"/>
        <a:buNone/>
        <a:defRPr sz="1400" kern="1200">
          <a:solidFill>
            <a:schemeClr val="tx2"/>
          </a:solidFill>
          <a:latin typeface="+mn-lt"/>
          <a:ea typeface="+mn-ea"/>
          <a:cs typeface="+mn-cs"/>
        </a:defRPr>
      </a:lvl8pPr>
      <a:lvl9pPr marL="0" indent="0" algn="l" defTabSz="914400" rtl="0" eaLnBrk="1" latinLnBrk="0" hangingPunct="1">
        <a:lnSpc>
          <a:spcPct val="100000"/>
        </a:lnSpc>
        <a:spcBef>
          <a:spcPts val="600"/>
        </a:spcBef>
        <a:spcAft>
          <a:spcPts val="600"/>
        </a:spcAft>
        <a:buFont typeface="Arial" panose="020B0604020202020204" pitchFamily="34" charset="0"/>
        <a:buNone/>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2">
          <p15:clr>
            <a:srgbClr val="F26B43"/>
          </p15:clr>
        </p15:guide>
        <p15:guide id="2" pos="3838">
          <p15:clr>
            <a:srgbClr val="F26B43"/>
          </p15:clr>
        </p15:guide>
        <p15:guide id="3" orient="horz" pos="240">
          <p15:clr>
            <a:srgbClr val="F26B43"/>
          </p15:clr>
        </p15:guide>
        <p15:guide id="4" orient="horz" pos="3840">
          <p15:clr>
            <a:srgbClr val="F26B43"/>
          </p15:clr>
        </p15:guide>
        <p15:guide id="5" orient="horz" pos="4077">
          <p15:clr>
            <a:srgbClr val="F26B43"/>
          </p15:clr>
        </p15:guide>
        <p15:guide id="6" orient="horz" pos="1920">
          <p15:clr>
            <a:srgbClr val="F26B43"/>
          </p15:clr>
        </p15:guide>
        <p15:guide id="7" pos="238">
          <p15:clr>
            <a:srgbClr val="F26B43"/>
          </p15:clr>
        </p15:guide>
        <p15:guide id="8" pos="6958">
          <p15:clr>
            <a:srgbClr val="F26B43"/>
          </p15:clr>
        </p15:guide>
        <p15:guide id="9" pos="3600">
          <p15:clr>
            <a:srgbClr val="F26B43"/>
          </p15:clr>
        </p15:guide>
        <p15:guide id="10" pos="4318">
          <p15:clr>
            <a:srgbClr val="F26B43"/>
          </p15:clr>
        </p15:guide>
        <p15:guide id="11" pos="2160">
          <p15:clr>
            <a:srgbClr val="F26B43"/>
          </p15:clr>
        </p15:guide>
        <p15:guide id="12" pos="2880">
          <p15:clr>
            <a:srgbClr val="F26B43"/>
          </p15:clr>
        </p15:guide>
        <p15:guide id="13" pos="1678">
          <p15:clr>
            <a:srgbClr val="F26B43"/>
          </p15:clr>
        </p15:guide>
        <p15:guide id="14" pos="483">
          <p15:clr>
            <a:srgbClr val="F26B43"/>
          </p15:clr>
        </p15:guide>
        <p15:guide id="15" pos="720">
          <p15:clr>
            <a:srgbClr val="F26B43"/>
          </p15:clr>
        </p15:guide>
        <p15:guide id="16" pos="1920">
          <p15:clr>
            <a:srgbClr val="F26B43"/>
          </p15:clr>
        </p15:guide>
        <p15:guide id="17" pos="4798">
          <p15:clr>
            <a:srgbClr val="F26B43"/>
          </p15:clr>
        </p15:guide>
        <p15:guide id="18" pos="4558">
          <p15:clr>
            <a:srgbClr val="F26B43"/>
          </p15:clr>
        </p15:guide>
        <p15:guide id="19" pos="5040">
          <p15:clr>
            <a:srgbClr val="F26B43"/>
          </p15:clr>
        </p15:guide>
        <p15:guide id="20" pos="5280">
          <p15:clr>
            <a:srgbClr val="F26B43"/>
          </p15:clr>
        </p15:guide>
        <p15:guide id="21" pos="6000">
          <p15:clr>
            <a:srgbClr val="F26B43"/>
          </p15:clr>
        </p15:guide>
        <p15:guide id="22" pos="6240">
          <p15:clr>
            <a:srgbClr val="F26B43"/>
          </p15:clr>
        </p15:guide>
        <p15:guide id="23" orient="horz" pos="3597">
          <p15:clr>
            <a:srgbClr val="F26B43"/>
          </p15:clr>
        </p15:guide>
        <p15:guide id="24" orient="horz" pos="2160">
          <p15:clr>
            <a:srgbClr val="F26B43"/>
          </p15:clr>
        </p15:guide>
        <p15:guide id="25" orient="horz" pos="2398">
          <p15:clr>
            <a:srgbClr val="F26B43"/>
          </p15:clr>
        </p15:guide>
        <p15:guide id="26" orient="horz" pos="2638">
          <p15:clr>
            <a:srgbClr val="F26B43"/>
          </p15:clr>
        </p15:guide>
        <p15:guide id="27" orient="horz" pos="3122">
          <p15:clr>
            <a:srgbClr val="F26B43"/>
          </p15:clr>
        </p15:guide>
        <p15:guide id="28" orient="horz" pos="1680">
          <p15:clr>
            <a:srgbClr val="F26B43"/>
          </p15:clr>
        </p15:guide>
        <p15:guide id="29" orient="horz" pos="1438">
          <p15:clr>
            <a:srgbClr val="F26B43"/>
          </p15:clr>
        </p15:guide>
        <p15:guide id="30" orient="horz" pos="1198">
          <p15:clr>
            <a:srgbClr val="F26B43"/>
          </p15:clr>
        </p15:guide>
        <p15:guide id="31" orient="horz" pos="958">
          <p15:clr>
            <a:srgbClr val="F26B43"/>
          </p15:clr>
        </p15:guide>
        <p15:guide id="32" orient="horz" pos="720">
          <p15:clr>
            <a:srgbClr val="F26B43"/>
          </p15:clr>
        </p15:guide>
        <p15:guide id="33" pos="6478">
          <p15:clr>
            <a:srgbClr val="F26B43"/>
          </p15:clr>
        </p15:guide>
        <p15:guide id="34" pos="6718">
          <p15:clr>
            <a:srgbClr val="F26B43"/>
          </p15:clr>
        </p15:guide>
        <p15:guide id="35" pos="960">
          <p15:clr>
            <a:srgbClr val="F26B43"/>
          </p15:clr>
        </p15:guide>
        <p15:guide id="36" pos="1198">
          <p15:clr>
            <a:srgbClr val="F26B43"/>
          </p15:clr>
        </p15:guide>
        <p15:guide id="37" pos="1440">
          <p15:clr>
            <a:srgbClr val="F26B43"/>
          </p15:clr>
        </p15:guide>
        <p15:guide id="38" pos="3120">
          <p15:clr>
            <a:srgbClr val="F26B43"/>
          </p15:clr>
        </p15:guide>
        <p15:guide id="39" pos="3360">
          <p15:clr>
            <a:srgbClr val="F26B43"/>
          </p15:clr>
        </p15:guide>
        <p15:guide id="40" pos="5760">
          <p15:clr>
            <a:srgbClr val="F26B43"/>
          </p15:clr>
        </p15:guide>
        <p15:guide id="41" pos="7198">
          <p15:clr>
            <a:srgbClr val="F26B43"/>
          </p15:clr>
        </p15:guide>
        <p15:guide id="42" pos="7442">
          <p15:clr>
            <a:srgbClr val="F26B43"/>
          </p15:clr>
        </p15:guide>
        <p15:guide id="43" pos="2398">
          <p15:clr>
            <a:srgbClr val="F26B43"/>
          </p15:clr>
        </p15:guide>
        <p15:guide id="44" orient="horz" pos="480">
          <p15:clr>
            <a:srgbClr val="F26B43"/>
          </p15:clr>
        </p15:guide>
        <p15:guide id="45" pos="2637">
          <p15:clr>
            <a:srgbClr val="F26B43"/>
          </p15:clr>
        </p15:guide>
        <p15:guide id="46" pos="4078">
          <p15:clr>
            <a:srgbClr val="F26B43"/>
          </p15:clr>
        </p15:guide>
        <p15:guide id="47" pos="5520">
          <p15:clr>
            <a:srgbClr val="F26B43"/>
          </p15:clr>
        </p15:guide>
        <p15:guide id="48" orient="horz" pos="336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hyperlink" Target="mailto:%20DEN-ACDBE@flydenver.com" TargetMode="External"/><Relationship Id="rId2" Type="http://schemas.openxmlformats.org/officeDocument/2006/relationships/notesSlide" Target="../notesSlides/notesSlide10.xml"/><Relationship Id="rId1" Type="http://schemas.openxmlformats.org/officeDocument/2006/relationships/slideLayout" Target="../slideLayouts/slideLayout18.xml"/><Relationship Id="rId5" Type="http://schemas.openxmlformats.org/officeDocument/2006/relationships/image" Target="../media/image36.png"/><Relationship Id="rId4" Type="http://schemas.openxmlformats.org/officeDocument/2006/relationships/hyperlink" Target="https://www.flydenver.com/business-and-community/acdbe/"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1.xml"/><Relationship Id="rId1" Type="http://schemas.openxmlformats.org/officeDocument/2006/relationships/slideLayout" Target="../slideLayouts/slideLayout18.xml"/><Relationship Id="rId5" Type="http://schemas.openxmlformats.org/officeDocument/2006/relationships/image" Target="../media/image39.png"/><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9.xml"/><Relationship Id="rId5" Type="http://schemas.openxmlformats.org/officeDocument/2006/relationships/image" Target="../media/image41.png"/><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3.xml"/><Relationship Id="rId1" Type="http://schemas.openxmlformats.org/officeDocument/2006/relationships/slideLayout" Target="../slideLayouts/slideLayout21.xml"/><Relationship Id="rId5" Type="http://schemas.openxmlformats.org/officeDocument/2006/relationships/image" Target="../media/image43.png"/><Relationship Id="rId4" Type="http://schemas.openxmlformats.org/officeDocument/2006/relationships/hyperlink" Target="mailto:DENTrainingAcademy@flydenver.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18.xml"/><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mailto:lon.nestrud@flydenver.com" TargetMode="External"/><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www.flydenver.com/business-and-community/commerce-hub/outreach-and-engagement/#pastevents" TargetMode="External"/><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hyperlink" Target="mailto:luis.zazueta@flydenver.com" TargetMode="External"/><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hyperlink" Target="mailto:valeria.rodriguez@flydenver.com" TargetMode="External"/><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18.xml"/><Relationship Id="rId4" Type="http://schemas.openxmlformats.org/officeDocument/2006/relationships/hyperlink" Target="mailto:madison.schliewe@flydenver.com"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mailto:madison.schliewe@flydenver.com" TargetMode="External"/><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3" Type="http://schemas.openxmlformats.org/officeDocument/2006/relationships/hyperlink" Target="mailto:Dave.Dalton@flydenver.com" TargetMode="External"/><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mailto:Sara.Edson@flydenver.com" TargetMode="External"/><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mailto:matthew.gomez-peterson@flydenver.com" TargetMode="External"/><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mailto:jacqueline.wilson@flydenver.com" TargetMode="External"/><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hyperlink" Target="http://www.flydenver.com/business-and-community/outreach-and-engagement/#pastevents" TargetMode="External"/><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28.png"/></Relationships>
</file>

<file path=ppt/slides/_rels/slide40.xml.rels><?xml version="1.0" encoding="UTF-8" standalone="yes"?>
<Relationships xmlns="http://schemas.openxmlformats.org/package/2006/relationships"><Relationship Id="rId3" Type="http://schemas.openxmlformats.org/officeDocument/2006/relationships/hyperlink" Target="mailto:sara.namerow@flydenver.com" TargetMode="External"/><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hyperlink" Target="mailto:Maribeth.Sarnecki@flydenver.com" TargetMode="External"/><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notesSlide" Target="../notesSlides/notesSlide33.xml"/><Relationship Id="rId7" Type="http://schemas.openxmlformats.org/officeDocument/2006/relationships/image" Target="../media/image51.png"/><Relationship Id="rId2" Type="http://schemas.openxmlformats.org/officeDocument/2006/relationships/slideLayout" Target="../slideLayouts/slideLayout107.xml"/><Relationship Id="rId1" Type="http://schemas.openxmlformats.org/officeDocument/2006/relationships/tags" Target="../tags/tag17.xml"/><Relationship Id="rId6" Type="http://schemas.openxmlformats.org/officeDocument/2006/relationships/image" Target="../media/image50.png"/><Relationship Id="rId11" Type="http://schemas.openxmlformats.org/officeDocument/2006/relationships/hyperlink" Target="mailto:Zach.Kelloms@united.com" TargetMode="External"/><Relationship Id="rId5" Type="http://schemas.openxmlformats.org/officeDocument/2006/relationships/image" Target="../media/image49.emf"/><Relationship Id="rId10" Type="http://schemas.openxmlformats.org/officeDocument/2006/relationships/image" Target="../media/image54.png"/><Relationship Id="rId4" Type="http://schemas.openxmlformats.org/officeDocument/2006/relationships/oleObject" Target="../embeddings/oleObject2.bin"/><Relationship Id="rId9" Type="http://schemas.openxmlformats.org/officeDocument/2006/relationships/image" Target="../media/image53.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hyperlink" Target="https://www.bidnetdirect.com/colorado/cityandcountyofdenverdepartmentofaviation" TargetMode="External"/><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hyperlink" Target="https://denver.mwdbe.com/" TargetMode="External"/><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hyperlink" Target="https://library.municode.com/co/denver/codes/code_of_ordinances?nodeId=TITIIREMUCO_CH28HURI_ARTVNOCOPUORGOSEOPMIWONEBUSMBUENPRGOSE" TargetMode="External"/><Relationship Id="rId2" Type="http://schemas.openxmlformats.org/officeDocument/2006/relationships/hyperlink" Target="https://library.municode.com/co/denver/codes/code_of_ordinances?nodeId=TITIIREMUCO_CH28HURI_ARTIIINOCOCOREREPRDECOSE_DIV3NOCOCOREREPRDECOSE" TargetMode="External"/><Relationship Id="rId1" Type="http://schemas.openxmlformats.org/officeDocument/2006/relationships/slideLayout" Target="../slideLayouts/slideLayout48.xml"/><Relationship Id="rId5" Type="http://schemas.openxmlformats.org/officeDocument/2006/relationships/hyperlink" Target="https://www.ecfr.gov/current/title-49/part-26" TargetMode="External"/><Relationship Id="rId4" Type="http://schemas.openxmlformats.org/officeDocument/2006/relationships/hyperlink" Target="https://library.municode.com/co/denver/codes/code_of_ordinances?nodeId=TITIIREMUCO_CH28HURI_ARTVIIOPSMBUENEMBUENCOCOREREPRDECOSESMBUENCOCOAGTHDESEPOCOCOAG" TargetMode="Externa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hyperlink" Target="https://www.bidnetdirect.com/colorado/city-and-county-of-denver-general-services-purchasing" TargetMode="External"/><Relationship Id="rId2" Type="http://schemas.openxmlformats.org/officeDocument/2006/relationships/notesSlide" Target="../notesSlides/notesSlide37.xml"/><Relationship Id="rId1" Type="http://schemas.openxmlformats.org/officeDocument/2006/relationships/slideLayout" Target="../slideLayouts/slideLayout18.xml"/><Relationship Id="rId6" Type="http://schemas.openxmlformats.org/officeDocument/2006/relationships/image" Target="../media/image57.png"/><Relationship Id="rId5" Type="http://schemas.openxmlformats.org/officeDocument/2006/relationships/hyperlink" Target="https://us.openforms.com/Form/657c65df-b0fb-4a88-89d0-3d51614b5adf" TargetMode="External"/><Relationship Id="rId4" Type="http://schemas.openxmlformats.org/officeDocument/2006/relationships/hyperlink" Target="https://denvergov.org/Government/Agencies-Departments-Offices/Agencies-Departments-Offices-Directory/General-Services/Purchasing-Division/Vendor-Resources" TargetMode="Externa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8.xml"/><Relationship Id="rId1" Type="http://schemas.openxmlformats.org/officeDocument/2006/relationships/slideLayout" Target="../slideLayouts/slideLayout25.xml"/><Relationship Id="rId5" Type="http://schemas.openxmlformats.org/officeDocument/2006/relationships/image" Target="../media/image60.png"/><Relationship Id="rId4" Type="http://schemas.openxmlformats.org/officeDocument/2006/relationships/image" Target="../media/image59.png"/></Relationships>
</file>

<file path=ppt/slides/_rels/slide56.xml.rels><?xml version="1.0" encoding="UTF-8" standalone="yes"?>
<Relationships xmlns="http://schemas.openxmlformats.org/package/2006/relationships"><Relationship Id="rId3" Type="http://schemas.openxmlformats.org/officeDocument/2006/relationships/hyperlink" Target="http://www.flydenver.com/business-and-community/outreach-and-engagement/#pastevents" TargetMode="External"/><Relationship Id="rId2" Type="http://schemas.openxmlformats.org/officeDocument/2006/relationships/notesSlide" Target="../notesSlides/notesSlide39.xml"/><Relationship Id="rId1" Type="http://schemas.openxmlformats.org/officeDocument/2006/relationships/slideLayout" Target="../slideLayouts/slideLayout18.xml"/><Relationship Id="rId4"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31.png"/></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19.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19.xml"/><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482CAAC-5511-40A6-FFB6-EBEF3926B130}"/>
              </a:ext>
              <a:ext uri="{C183D7F6-B498-43B3-948B-1728B52AA6E4}">
                <adec:decorative xmlns:adec="http://schemas.microsoft.com/office/drawing/2017/decorative" val="1"/>
              </a:ext>
            </a:extLst>
          </p:cNvPr>
          <p:cNvSpPr>
            <a:spLocks noGrp="1"/>
          </p:cNvSpPr>
          <p:nvPr>
            <p:ph type="title" idx="4294967295"/>
          </p:nvPr>
        </p:nvSpPr>
        <p:spPr>
          <a:xfrm>
            <a:off x="754062" y="4519656"/>
            <a:ext cx="8694403" cy="11887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buFont typeface="Arial" panose="020B0604020202020204" pitchFamily="34" charset="0"/>
              <a:defRPr/>
            </a:pPr>
            <a:r>
              <a:rPr lang="en-US" sz="3600">
                <a:solidFill>
                  <a:schemeClr val="bg1"/>
                </a:solidFill>
                <a:latin typeface="+mn-lt"/>
                <a:ea typeface="+mn-ea"/>
                <a:cs typeface="+mn-cs"/>
              </a:rPr>
              <a:t>Taking Flight at DEN</a:t>
            </a:r>
            <a:endParaRPr lang="en-US">
              <a:ea typeface="+mn-ea"/>
              <a:cs typeface="+mn-cs"/>
            </a:endParaRPr>
          </a:p>
        </p:txBody>
      </p:sp>
      <p:sp>
        <p:nvSpPr>
          <p:cNvPr id="2" name="Text Placeholder 1">
            <a:extLst>
              <a:ext uri="{FF2B5EF4-FFF2-40B4-BE49-F238E27FC236}">
                <a16:creationId xmlns:a16="http://schemas.microsoft.com/office/drawing/2014/main" id="{5CF596FF-602A-92B7-11D4-E6638E367E24}"/>
              </a:ext>
              <a:ext uri="{C183D7F6-B498-43B3-948B-1728B52AA6E4}">
                <adec:decorative xmlns:adec="http://schemas.microsoft.com/office/drawing/2017/decorative" val="1"/>
              </a:ext>
            </a:extLst>
          </p:cNvPr>
          <p:cNvSpPr>
            <a:spLocks noGrp="1"/>
          </p:cNvSpPr>
          <p:nvPr>
            <p:ph type="body" sz="quarter" idx="12"/>
          </p:nvPr>
        </p:nvSpPr>
        <p:spPr>
          <a:xfrm>
            <a:off x="754062" y="6080418"/>
            <a:ext cx="3070686" cy="432677"/>
          </a:xfrm>
        </p:spPr>
        <p:txBody>
          <a:bodyPr lIns="91440" tIns="45720" rIns="91440" bIns="45720" anchor="t"/>
          <a:lstStyle/>
          <a:p>
            <a:r>
              <a:rPr lang="en-US"/>
              <a:t>June 2026</a:t>
            </a:r>
          </a:p>
        </p:txBody>
      </p:sp>
    </p:spTree>
    <p:extLst>
      <p:ext uri="{BB962C8B-B14F-4D97-AF65-F5344CB8AC3E}">
        <p14:creationId xmlns:p14="http://schemas.microsoft.com/office/powerpoint/2010/main" val="1703412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0AA74-5A18-F052-CA5B-F5CD1503A527}"/>
            </a:ext>
          </a:extLst>
        </p:cNvPr>
        <p:cNvGrpSpPr/>
        <p:nvPr/>
      </p:nvGrpSpPr>
      <p:grpSpPr>
        <a:xfrm>
          <a:off x="0" y="0"/>
          <a:ext cx="0" cy="0"/>
          <a:chOff x="0" y="0"/>
          <a:chExt cx="0" cy="0"/>
        </a:xfrm>
      </p:grpSpPr>
      <p:sp>
        <p:nvSpPr>
          <p:cNvPr id="9" name="Text Placeholder 4" descr="​Meet the Primes, is a virtual outreach series intended to bring together firms who are working as a Prime at DEN and help connect them with local, small, and historically underutilized firms. &#10;&#10;These are held every other month on the 3rd Thursday&#10;Please go to https://www.eventbrite.com/o/doing-business-at-den-8527643555 for the event calendar. &#10;">
            <a:extLst>
              <a:ext uri="{FF2B5EF4-FFF2-40B4-BE49-F238E27FC236}">
                <a16:creationId xmlns:a16="http://schemas.microsoft.com/office/drawing/2014/main" id="{AFFAA643-5BCA-D09E-3781-233073906387}"/>
              </a:ext>
              <a:ext uri="{C183D7F6-B498-43B3-948B-1728B52AA6E4}">
                <adec:decorative xmlns:adec="http://schemas.microsoft.com/office/drawing/2017/decorative" val="0"/>
              </a:ext>
            </a:extLst>
          </p:cNvPr>
          <p:cNvSpPr txBox="1">
            <a:spLocks noGrp="1"/>
          </p:cNvSpPr>
          <p:nvPr>
            <p:ph type="title" idx="4294967295"/>
          </p:nvPr>
        </p:nvSpPr>
        <p:spPr>
          <a:xfrm>
            <a:off x="805411" y="483330"/>
            <a:ext cx="7009921"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1000"/>
              </a:spcBef>
              <a:defRPr/>
            </a:pPr>
            <a:r>
              <a:rPr lang="en-US" sz="2800">
                <a:solidFill>
                  <a:srgbClr val="440099"/>
                </a:solidFill>
                <a:latin typeface="+mn-lt"/>
                <a:ea typeface="Calibri"/>
                <a:cs typeface="Calibri"/>
              </a:rPr>
              <a:t>Missed the</a:t>
            </a:r>
            <a:r>
              <a:rPr lang="en-US" sz="2800">
                <a:solidFill>
                  <a:srgbClr val="440099"/>
                </a:solidFill>
                <a:latin typeface="+mn-lt"/>
              </a:rPr>
              <a:t> IFR </a:t>
            </a:r>
            <a:r>
              <a:rPr lang="en-US" sz="2800">
                <a:solidFill>
                  <a:srgbClr val="440099"/>
                </a:solidFill>
                <a:latin typeface="+mn-lt"/>
                <a:ea typeface="+mn-ea"/>
                <a:cs typeface="+mn-cs"/>
              </a:rPr>
              <a:t>Submission</a:t>
            </a:r>
            <a:r>
              <a:rPr lang="en-US" sz="2800">
                <a:solidFill>
                  <a:srgbClr val="440099"/>
                </a:solidFill>
                <a:latin typeface="+mn-lt"/>
              </a:rPr>
              <a:t> Date?</a:t>
            </a:r>
            <a:endParaRPr kumimoji="0" lang="en-US" sz="2800" i="0" u="none" strike="noStrike" kern="1200" cap="none" spc="0" normalizeH="0" baseline="0" noProof="0">
              <a:ln>
                <a:noFill/>
              </a:ln>
              <a:solidFill>
                <a:srgbClr val="440099"/>
              </a:solidFill>
              <a:effectLst/>
              <a:uLnTx/>
              <a:uFillTx/>
              <a:latin typeface="+mn-lt"/>
              <a:ea typeface="Calibri"/>
              <a:cs typeface="Calibri"/>
            </a:endParaRPr>
          </a:p>
        </p:txBody>
      </p:sp>
      <p:sp>
        <p:nvSpPr>
          <p:cNvPr id="2" name="TextBox 1">
            <a:extLst>
              <a:ext uri="{FF2B5EF4-FFF2-40B4-BE49-F238E27FC236}">
                <a16:creationId xmlns:a16="http://schemas.microsoft.com/office/drawing/2014/main" id="{1423AFD1-9BFB-83C7-F596-73E799A03C31}"/>
              </a:ext>
            </a:extLst>
          </p:cNvPr>
          <p:cNvSpPr txBox="1"/>
          <p:nvPr/>
        </p:nvSpPr>
        <p:spPr>
          <a:xfrm>
            <a:off x="712842" y="1284197"/>
            <a:ext cx="9741798" cy="48013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highlight>
                  <a:srgbClr val="FFFFFF"/>
                </a:highlight>
                <a:ea typeface="Calibri"/>
                <a:cs typeface="Calibri"/>
              </a:rPr>
              <a:t>This is a reminder that there is </a:t>
            </a:r>
            <a:r>
              <a:rPr lang="en-US" b="1">
                <a:highlight>
                  <a:srgbClr val="FFFFFF"/>
                </a:highlight>
                <a:ea typeface="Calibri"/>
                <a:cs typeface="Calibri"/>
              </a:rPr>
              <a:t>still time to submit your ACDBE reevaluation application</a:t>
            </a:r>
            <a:r>
              <a:rPr lang="en-US">
                <a:highlight>
                  <a:srgbClr val="FFFFFF"/>
                </a:highlight>
                <a:ea typeface="Calibri"/>
                <a:cs typeface="Calibri"/>
              </a:rPr>
              <a:t> in accordance with 49 CFR Parts 23 and 26.</a:t>
            </a:r>
          </a:p>
          <a:p>
            <a:endParaRPr lang="en-US"/>
          </a:p>
          <a:p>
            <a:r>
              <a:rPr lang="en-US" b="1">
                <a:highlight>
                  <a:srgbClr val="FFFFFF"/>
                </a:highlight>
                <a:ea typeface="Calibri"/>
                <a:cs typeface="Calibri"/>
              </a:rPr>
              <a:t>What You Need to Submit</a:t>
            </a:r>
          </a:p>
          <a:p>
            <a:pPr marL="285750" indent="-285750">
              <a:buClr>
                <a:srgbClr val="E35B2A"/>
              </a:buClr>
              <a:buFont typeface="Arial" panose="020B0604020202020204" pitchFamily="34" charset="0"/>
              <a:buChar char="•"/>
            </a:pPr>
            <a:r>
              <a:rPr lang="en-US" b="1">
                <a:highlight>
                  <a:srgbClr val="FFFFFF"/>
                </a:highlight>
                <a:ea typeface="Calibri"/>
                <a:cs typeface="Calibri"/>
              </a:rPr>
              <a:t>Personal Narrative (PN) </a:t>
            </a:r>
            <a:r>
              <a:rPr lang="en-US">
                <a:highlight>
                  <a:srgbClr val="FFFFFF"/>
                </a:highlight>
                <a:ea typeface="Calibri"/>
                <a:cs typeface="Calibri"/>
              </a:rPr>
              <a:t>for </a:t>
            </a:r>
            <a:r>
              <a:rPr lang="en-US" b="1">
                <a:highlight>
                  <a:srgbClr val="FFFFFF"/>
                </a:highlight>
                <a:ea typeface="Calibri"/>
                <a:cs typeface="Calibri"/>
              </a:rPr>
              <a:t>each qualifying owner</a:t>
            </a:r>
          </a:p>
          <a:p>
            <a:pPr marL="285750" indent="-285750">
              <a:buClr>
                <a:srgbClr val="E35B2A"/>
              </a:buClr>
              <a:buFont typeface="Arial" panose="020B0604020202020204" pitchFamily="34" charset="0"/>
              <a:buChar char="•"/>
            </a:pPr>
            <a:r>
              <a:rPr lang="en-US" b="1">
                <a:highlight>
                  <a:srgbClr val="FFFFFF"/>
                </a:highlight>
                <a:ea typeface="Calibri"/>
                <a:cs typeface="Calibri"/>
              </a:rPr>
              <a:t>Personal Net Worth (PNW) Statement</a:t>
            </a:r>
          </a:p>
          <a:p>
            <a:pPr marL="285750" indent="-285750">
              <a:buClr>
                <a:srgbClr val="E35B2A"/>
              </a:buClr>
              <a:buFont typeface="Arial" panose="020B0604020202020204" pitchFamily="34" charset="0"/>
              <a:buChar char="•"/>
            </a:pPr>
            <a:r>
              <a:rPr lang="en-US">
                <a:highlight>
                  <a:srgbClr val="FFFFFF"/>
                </a:highlight>
                <a:ea typeface="Calibri"/>
                <a:cs typeface="Calibri"/>
              </a:rPr>
              <a:t>Any supporting documentation</a:t>
            </a:r>
          </a:p>
          <a:p>
            <a:endParaRPr lang="en-US">
              <a:highlight>
                <a:srgbClr val="FFFFFF"/>
              </a:highlight>
              <a:ea typeface="Calibri"/>
              <a:cs typeface="Calibri"/>
            </a:endParaRPr>
          </a:p>
          <a:p>
            <a:r>
              <a:rPr lang="en-US" b="1">
                <a:highlight>
                  <a:srgbClr val="FFFFFF"/>
                </a:highlight>
                <a:ea typeface="Calibri"/>
                <a:cs typeface="Calibri"/>
              </a:rPr>
              <a:t>How to Submit</a:t>
            </a:r>
          </a:p>
          <a:p>
            <a:pPr marL="285750" indent="-285750">
              <a:buClr>
                <a:srgbClr val="E35B2A"/>
              </a:buClr>
              <a:buFont typeface="Arial" panose="020B0604020202020204" pitchFamily="34" charset="0"/>
              <a:buChar char="•"/>
            </a:pPr>
            <a:r>
              <a:rPr lang="en-US" b="1">
                <a:highlight>
                  <a:srgbClr val="FFFFFF"/>
                </a:highlight>
                <a:ea typeface="Calibri"/>
                <a:cs typeface="Calibri"/>
              </a:rPr>
              <a:t>Submit all materials electronically </a:t>
            </a:r>
            <a:r>
              <a:rPr lang="en-US">
                <a:highlight>
                  <a:srgbClr val="FFFFFF"/>
                </a:highlight>
                <a:ea typeface="Calibri"/>
                <a:cs typeface="Calibri"/>
              </a:rPr>
              <a:t>through the Small Business Certification &amp; Contract Management System </a:t>
            </a:r>
            <a:r>
              <a:rPr lang="en-US" b="1">
                <a:highlight>
                  <a:srgbClr val="FFFFFF"/>
                </a:highlight>
                <a:ea typeface="Calibri"/>
                <a:cs typeface="Calibri"/>
              </a:rPr>
              <a:t>(B2G)</a:t>
            </a:r>
          </a:p>
          <a:p>
            <a:pPr marL="285750" indent="-285750">
              <a:buClr>
                <a:srgbClr val="E35B2A"/>
              </a:buClr>
              <a:buFont typeface="Arial" panose="020B0604020202020204" pitchFamily="34" charset="0"/>
              <a:buChar char="•"/>
            </a:pPr>
            <a:r>
              <a:rPr lang="en-US">
                <a:highlight>
                  <a:srgbClr val="FFFFFF"/>
                </a:highlight>
                <a:ea typeface="Calibri"/>
                <a:cs typeface="Calibri"/>
              </a:rPr>
              <a:t>Emails are </a:t>
            </a:r>
            <a:r>
              <a:rPr lang="en-US" b="1">
                <a:highlight>
                  <a:srgbClr val="FFFFFF"/>
                </a:highlight>
                <a:ea typeface="Calibri"/>
                <a:cs typeface="Calibri"/>
              </a:rPr>
              <a:t>not accepted</a:t>
            </a:r>
          </a:p>
          <a:p>
            <a:pPr marL="285750" indent="-285750">
              <a:buClr>
                <a:srgbClr val="E35B2A"/>
              </a:buClr>
              <a:buFont typeface="Arial" panose="020B0604020202020204" pitchFamily="34" charset="0"/>
              <a:buChar char="•"/>
            </a:pPr>
            <a:r>
              <a:rPr lang="en-US">
                <a:highlight>
                  <a:srgbClr val="FFFFFF"/>
                </a:highlight>
                <a:ea typeface="Calibri"/>
                <a:cs typeface="Calibri"/>
              </a:rPr>
              <a:t>Guidance available through the linked PN instruction documents</a:t>
            </a:r>
          </a:p>
          <a:p>
            <a:endParaRPr lang="en-US"/>
          </a:p>
          <a:p>
            <a:r>
              <a:rPr lang="en-US" b="1">
                <a:highlight>
                  <a:srgbClr val="FFFFFF"/>
                </a:highlight>
                <a:ea typeface="Calibri"/>
                <a:cs typeface="Calibri"/>
              </a:rPr>
              <a:t>Questions?</a:t>
            </a:r>
            <a:endParaRPr lang="en-US">
              <a:highlight>
                <a:srgbClr val="FFFFFF"/>
              </a:highlight>
            </a:endParaRPr>
          </a:p>
          <a:p>
            <a:pPr marL="285750" indent="-285750">
              <a:buClr>
                <a:srgbClr val="E35B2A"/>
              </a:buClr>
              <a:buFont typeface="Arial"/>
              <a:buChar char="•"/>
            </a:pPr>
            <a:r>
              <a:rPr lang="en-US" b="1">
                <a:highlight>
                  <a:srgbClr val="FFFFFF"/>
                </a:highlight>
                <a:ea typeface="Calibri"/>
                <a:cs typeface="Calibri"/>
              </a:rPr>
              <a:t>DEN ACDBE Program:</a:t>
            </a:r>
            <a:r>
              <a:rPr lang="en-US">
                <a:highlight>
                  <a:srgbClr val="FFFFFF"/>
                </a:highlight>
                <a:ea typeface="Calibri"/>
                <a:cs typeface="Calibri"/>
              </a:rPr>
              <a:t> </a:t>
            </a:r>
            <a:r>
              <a:rPr lang="en-US">
                <a:solidFill>
                  <a:srgbClr val="000000"/>
                </a:solidFill>
                <a:highlight>
                  <a:srgbClr val="FFFFFF"/>
                </a:highlight>
                <a:ea typeface="Calibri"/>
                <a:cs typeface="Calibri"/>
                <a:hlinkClick r:id="rId3"/>
              </a:rPr>
              <a:t>DEN-ACDBE@flydenver.com </a:t>
            </a:r>
            <a:endParaRPr lang="en-US">
              <a:solidFill>
                <a:srgbClr val="000000"/>
              </a:solidFill>
              <a:highlight>
                <a:srgbClr val="FFFFFF"/>
              </a:highlight>
              <a:ea typeface="Calibri"/>
              <a:cs typeface="Calibri"/>
            </a:endParaRPr>
          </a:p>
          <a:p>
            <a:pPr marL="285750" indent="-285750">
              <a:buClr>
                <a:srgbClr val="E35B2A"/>
              </a:buClr>
              <a:buFont typeface="Arial"/>
              <a:buChar char="•"/>
            </a:pPr>
            <a:r>
              <a:rPr lang="en-US">
                <a:solidFill>
                  <a:srgbClr val="000000"/>
                </a:solidFill>
                <a:ea typeface="Calibri"/>
                <a:cs typeface="Calibri"/>
                <a:hlinkClick r:id="rId4"/>
              </a:rPr>
              <a:t>https://www.flydenver.com/business-and-community/acdbe/</a:t>
            </a:r>
            <a:r>
              <a:rPr lang="en-US">
                <a:solidFill>
                  <a:srgbClr val="000000"/>
                </a:solidFill>
                <a:ea typeface="Calibri"/>
                <a:cs typeface="Calibri"/>
              </a:rPr>
              <a:t> </a:t>
            </a:r>
            <a:endParaRPr lang="en-US"/>
          </a:p>
        </p:txBody>
      </p:sp>
      <p:pic>
        <p:nvPicPr>
          <p:cNvPr id="10" name="Picture 9" descr="A qr code redirecting to IFR document&#10;https://cdn.flydenver.com/app/uploads/2026/01/12121126/Additional-PN-Guidence.pdf?_gl=1*jsarv7*_gcl_au*MTkxNzk2MTE4MC4xNzY0NjE3NjEy">
            <a:extLst>
              <a:ext uri="{FF2B5EF4-FFF2-40B4-BE49-F238E27FC236}">
                <a16:creationId xmlns:a16="http://schemas.microsoft.com/office/drawing/2014/main" id="{072DEBA4-DCD4-B02B-EFCD-3EFC56BD7804}"/>
              </a:ext>
            </a:extLst>
          </p:cNvPr>
          <p:cNvPicPr>
            <a:picLocks noChangeAspect="1"/>
          </p:cNvPicPr>
          <p:nvPr/>
        </p:nvPicPr>
        <p:blipFill>
          <a:blip r:embed="rId5"/>
          <a:stretch>
            <a:fillRect/>
          </a:stretch>
        </p:blipFill>
        <p:spPr>
          <a:xfrm>
            <a:off x="10256101" y="4831167"/>
            <a:ext cx="1563020" cy="1590561"/>
          </a:xfrm>
          <a:prstGeom prst="rect">
            <a:avLst/>
          </a:prstGeom>
        </p:spPr>
      </p:pic>
    </p:spTree>
    <p:extLst>
      <p:ext uri="{BB962C8B-B14F-4D97-AF65-F5344CB8AC3E}">
        <p14:creationId xmlns:p14="http://schemas.microsoft.com/office/powerpoint/2010/main" val="41402971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94865-DAA7-3E58-6FFE-D934936BD2CD}"/>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1F35488A-02BF-131D-A281-3432E866B4F8}"/>
              </a:ext>
              <a:ext uri="{C183D7F6-B498-43B3-948B-1728B52AA6E4}">
                <adec:decorative xmlns:adec="http://schemas.microsoft.com/office/drawing/2017/decorative" val="1"/>
              </a:ext>
            </a:extLst>
          </p:cNvPr>
          <p:cNvSpPr/>
          <p:nvPr/>
        </p:nvSpPr>
        <p:spPr>
          <a:xfrm>
            <a:off x="7895062" y="-51435"/>
            <a:ext cx="4305278" cy="6960870"/>
          </a:xfrm>
          <a:prstGeom prst="rect">
            <a:avLst/>
          </a:prstGeom>
          <a:solidFill>
            <a:srgbClr val="44009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 name="TextBox 4">
            <a:extLst>
              <a:ext uri="{FF2B5EF4-FFF2-40B4-BE49-F238E27FC236}">
                <a16:creationId xmlns:a16="http://schemas.microsoft.com/office/drawing/2014/main" id="{047F1828-1876-77F7-9A22-D001B111372D}"/>
              </a:ext>
            </a:extLst>
          </p:cNvPr>
          <p:cNvSpPr txBox="1">
            <a:spLocks noGrp="1"/>
          </p:cNvSpPr>
          <p:nvPr>
            <p:ph type="title" idx="4294967295"/>
          </p:nvPr>
        </p:nvSpPr>
        <p:spPr>
          <a:xfrm>
            <a:off x="8397240" y="115189"/>
            <a:ext cx="3657600" cy="44771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538" b="1" i="0" u="none" strike="noStrike" kern="1200" cap="none" spc="0" normalizeH="0" baseline="0" noProof="0">
                <a:ln>
                  <a:noFill/>
                </a:ln>
                <a:solidFill>
                  <a:schemeClr val="bg1"/>
                </a:solidFill>
                <a:effectLst/>
                <a:uLnTx/>
                <a:uFillTx/>
                <a:latin typeface="+mn-lt"/>
                <a:ea typeface="Canva Sans Bold"/>
                <a:cs typeface="Canva Sans Bold"/>
                <a:sym typeface="Canva Sans Bold"/>
              </a:rPr>
              <a:t>Registration Now Op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538" b="1" i="0" u="none" strike="noStrike" kern="1200" cap="none" spc="0" normalizeH="0" baseline="0" noProof="0">
              <a:ln>
                <a:noFill/>
              </a:ln>
              <a:solidFill>
                <a:schemeClr val="bg1"/>
              </a:solidFill>
              <a:effectLst/>
              <a:uLnTx/>
              <a:uFillTx/>
              <a:latin typeface="+mn-lt"/>
              <a:ea typeface="Canva Sans Bold"/>
              <a:cs typeface="Canva Sans Bold"/>
              <a:sym typeface="Canva Sans 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a:ln>
                  <a:noFill/>
                </a:ln>
                <a:solidFill>
                  <a:schemeClr val="bg1"/>
                </a:solidFill>
                <a:effectLst/>
                <a:uLnTx/>
                <a:uFillTx/>
                <a:latin typeface="+mn-lt"/>
                <a:ea typeface="Canva Sans Bold"/>
                <a:cs typeface="Canva Sans Bold"/>
                <a:sym typeface="Canva Sans Bold"/>
              </a:rPr>
              <a:t>DEN Procurement Tradesho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u="none" strike="noStrike" kern="1200" cap="none" spc="0" normalizeH="0" baseline="0" noProof="0">
              <a:ln>
                <a:noFill/>
              </a:ln>
              <a:solidFill>
                <a:schemeClr val="bg1"/>
              </a:solidFill>
              <a:effectLst/>
              <a:uLnTx/>
              <a:uFillTx/>
              <a:latin typeface="+mn-lt"/>
              <a:ea typeface="Canva Sans Bold"/>
              <a:cs typeface="Canva Sans Bold"/>
              <a:sym typeface="Canva Sans 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a:ln>
                  <a:noFill/>
                </a:ln>
                <a:solidFill>
                  <a:schemeClr val="bg1"/>
                </a:solidFill>
                <a:effectLst/>
                <a:uLnTx/>
                <a:uFillTx/>
                <a:latin typeface="+mn-lt"/>
                <a:ea typeface="Canva Sans Bold"/>
                <a:cs typeface="Canva Sans Bold"/>
                <a:sym typeface="Canva Sans Bold"/>
              </a:rPr>
              <a:t>August 20, 202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u="none" strike="noStrike" kern="1200" cap="none" spc="0" normalizeH="0" baseline="0" noProof="0">
              <a:ln>
                <a:noFill/>
              </a:ln>
              <a:solidFill>
                <a:schemeClr val="bg1"/>
              </a:solidFill>
              <a:effectLst/>
              <a:uLnTx/>
              <a:uFillTx/>
              <a:latin typeface="+mn-lt"/>
              <a:ea typeface="Canva Sans Bold"/>
              <a:cs typeface="Canva Sans Bold"/>
              <a:sym typeface="Canva Sans Bold"/>
            </a:endParaRPr>
          </a:p>
          <a:p>
            <a:r>
              <a:rPr lang="en-US" sz="2400" b="1">
                <a:solidFill>
                  <a:schemeClr val="bg1"/>
                </a:solidFill>
                <a:latin typeface="+mn-lt"/>
                <a:ea typeface="Canva Sans Bold"/>
                <a:cs typeface="Canva Sans Bold"/>
                <a:sym typeface="Canva Sans Bold"/>
              </a:rPr>
              <a:t>Hotel Transit Center – 4</a:t>
            </a:r>
            <a:r>
              <a:rPr lang="en-US" sz="2400" b="1" baseline="30000">
                <a:solidFill>
                  <a:schemeClr val="bg1"/>
                </a:solidFill>
                <a:latin typeface="+mn-lt"/>
                <a:ea typeface="Canva Sans Bold"/>
                <a:cs typeface="Canva Sans Bold"/>
                <a:sym typeface="Canva Sans Bold"/>
              </a:rPr>
              <a:t>th</a:t>
            </a:r>
            <a:r>
              <a:rPr lang="en-US" sz="2400" b="1">
                <a:solidFill>
                  <a:schemeClr val="bg1"/>
                </a:solidFill>
                <a:latin typeface="+mn-lt"/>
                <a:ea typeface="Canva Sans Bold"/>
                <a:cs typeface="Canva Sans Bold"/>
                <a:sym typeface="Canva Sans Bold"/>
              </a:rPr>
              <a:t> Floor / CEEA Space</a:t>
            </a:r>
            <a:br>
              <a:rPr lang="en-US" sz="2400" i="1">
                <a:solidFill>
                  <a:schemeClr val="bg1"/>
                </a:solidFill>
                <a:ea typeface="Canva Sans Bold"/>
                <a:cs typeface="Canva Sans Bold"/>
                <a:sym typeface="Canva Sans Bold"/>
              </a:rPr>
            </a:br>
            <a:endParaRPr kumimoji="0" lang="en-US" sz="2400" b="1" i="0" u="none" strike="noStrike" kern="1200" cap="none" spc="0" normalizeH="0" baseline="0" noProof="0">
              <a:ln>
                <a:noFill/>
              </a:ln>
              <a:solidFill>
                <a:schemeClr val="bg1"/>
              </a:solidFill>
              <a:effectLst/>
              <a:uLnTx/>
              <a:uFillTx/>
              <a:latin typeface="+mn-lt"/>
              <a:ea typeface="Canva Sans Bold"/>
              <a:cs typeface="Canva Sans Bold"/>
              <a:sym typeface="Canva Sans Bold"/>
            </a:endParaRPr>
          </a:p>
        </p:txBody>
      </p:sp>
      <p:pic>
        <p:nvPicPr>
          <p:cNvPr id="7" name="Picture 6">
            <a:extLst>
              <a:ext uri="{FF2B5EF4-FFF2-40B4-BE49-F238E27FC236}">
                <a16:creationId xmlns:a16="http://schemas.microsoft.com/office/drawing/2014/main" id="{203FD0C5-45EC-AFA1-3AA0-04CF2C0EE92B}"/>
              </a:ext>
              <a:ext uri="{C183D7F6-B498-43B3-948B-1728B52AA6E4}">
                <adec:decorative xmlns:adec="http://schemas.microsoft.com/office/drawing/2017/decorative" val="1"/>
              </a:ext>
            </a:extLst>
          </p:cNvPr>
          <p:cNvPicPr>
            <a:picLocks noChangeAspect="1"/>
          </p:cNvPicPr>
          <p:nvPr/>
        </p:nvPicPr>
        <p:blipFill>
          <a:blip r:embed="rId3"/>
          <a:srcRect l="7362" t="617" r="7362" b="617"/>
          <a:stretch>
            <a:fillRect/>
          </a:stretch>
        </p:blipFill>
        <p:spPr>
          <a:xfrm>
            <a:off x="0" y="0"/>
            <a:ext cx="7895062" cy="6858000"/>
          </a:xfrm>
          <a:prstGeom prst="rect">
            <a:avLst/>
          </a:prstGeom>
        </p:spPr>
      </p:pic>
      <p:pic>
        <p:nvPicPr>
          <p:cNvPr id="3" name="Picture 2">
            <a:extLst>
              <a:ext uri="{FF2B5EF4-FFF2-40B4-BE49-F238E27FC236}">
                <a16:creationId xmlns:a16="http://schemas.microsoft.com/office/drawing/2014/main" id="{5685ACE5-F0D5-3236-21EC-6D89D9A3DB9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226040" y="4848091"/>
            <a:ext cx="1828804" cy="1828804"/>
          </a:xfrm>
          <a:prstGeom prst="rect">
            <a:avLst/>
          </a:prstGeom>
          <a:solidFill>
            <a:schemeClr val="bg1"/>
          </a:solidFill>
        </p:spPr>
      </p:pic>
      <p:pic>
        <p:nvPicPr>
          <p:cNvPr id="8" name="Picture 7">
            <a:extLst>
              <a:ext uri="{FF2B5EF4-FFF2-40B4-BE49-F238E27FC236}">
                <a16:creationId xmlns:a16="http://schemas.microsoft.com/office/drawing/2014/main" id="{7BB36F9D-B512-69BC-C034-499603F08828}"/>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8086286" y="4848091"/>
            <a:ext cx="1828804" cy="1828804"/>
          </a:xfrm>
          <a:prstGeom prst="rect">
            <a:avLst/>
          </a:prstGeom>
          <a:solidFill>
            <a:srgbClr val="FFFFFF"/>
          </a:solidFill>
        </p:spPr>
      </p:pic>
    </p:spTree>
    <p:extLst>
      <p:ext uri="{BB962C8B-B14F-4D97-AF65-F5344CB8AC3E}">
        <p14:creationId xmlns:p14="http://schemas.microsoft.com/office/powerpoint/2010/main" val="18089921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descr="Community Panelist Program &#10;&#10;Volunteer program for those who want to participate in a procurement evaluation panel. &#10;">
            <a:extLst>
              <a:ext uri="{FF2B5EF4-FFF2-40B4-BE49-F238E27FC236}">
                <a16:creationId xmlns:a16="http://schemas.microsoft.com/office/drawing/2014/main" id="{4D3BE7C3-407C-CB0C-1D05-5719EECE40C2}"/>
              </a:ext>
              <a:ext uri="{C183D7F6-B498-43B3-948B-1728B52AA6E4}">
                <adec:decorative xmlns:adec="http://schemas.microsoft.com/office/drawing/2017/decorative" val="0"/>
              </a:ext>
            </a:extLst>
          </p:cNvPr>
          <p:cNvSpPr>
            <a:spLocks noGrp="1"/>
          </p:cNvSpPr>
          <p:nvPr>
            <p:ph type="title" idx="4294967295"/>
          </p:nvPr>
        </p:nvSpPr>
        <p:spPr>
          <a:xfrm>
            <a:off x="770439" y="496503"/>
            <a:ext cx="869440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440099"/>
                </a:solidFill>
                <a:effectLst/>
                <a:uLnTx/>
                <a:uFillTx/>
                <a:latin typeface="+mn-lt"/>
                <a:ea typeface="+mn-ea"/>
                <a:cs typeface="+mn-cs"/>
              </a:rPr>
              <a:t>Community Panelist Program </a:t>
            </a:r>
          </a:p>
        </p:txBody>
      </p:sp>
      <p:sp>
        <p:nvSpPr>
          <p:cNvPr id="7" name="Text Placeholder 6">
            <a:extLst>
              <a:ext uri="{FF2B5EF4-FFF2-40B4-BE49-F238E27FC236}">
                <a16:creationId xmlns:a16="http://schemas.microsoft.com/office/drawing/2014/main" id="{E9507956-F734-D69F-F6A5-8FC49E324F87}"/>
              </a:ext>
              <a:ext uri="{C183D7F6-B498-43B3-948B-1728B52AA6E4}">
                <adec:decorative xmlns:adec="http://schemas.microsoft.com/office/drawing/2017/decorative" val="1"/>
              </a:ext>
            </a:extLst>
          </p:cNvPr>
          <p:cNvSpPr>
            <a:spLocks noGrp="1"/>
          </p:cNvSpPr>
          <p:nvPr>
            <p:ph type="body" sz="quarter" idx="13"/>
          </p:nvPr>
        </p:nvSpPr>
        <p:spPr/>
        <p:txBody>
          <a:bodyPr lIns="91440" tIns="45720" rIns="91440" bIns="45720" anchor="t"/>
          <a:lstStyle/>
          <a:p>
            <a:r>
              <a:rPr lang="en-US" sz="2000" b="1"/>
              <a:t>Volunteer program for those who want to participate in a procurement evaluation panel. </a:t>
            </a:r>
          </a:p>
          <a:p>
            <a:pPr marL="285750" indent="-285750">
              <a:lnSpc>
                <a:spcPct val="100000"/>
              </a:lnSpc>
              <a:buFont typeface="Arial"/>
              <a:buChar char="•"/>
            </a:pPr>
            <a:r>
              <a:rPr lang="en-US" sz="1800">
                <a:solidFill>
                  <a:srgbClr val="181717"/>
                </a:solidFill>
                <a:ea typeface="Calibri"/>
                <a:cs typeface="Calibri"/>
              </a:rPr>
              <a:t>Great experience for potential primes</a:t>
            </a:r>
            <a:endParaRPr lang="en-US" sz="1800">
              <a:ea typeface="Calibri"/>
              <a:cs typeface="Calibri"/>
            </a:endParaRPr>
          </a:p>
          <a:p>
            <a:pPr marL="285750" indent="-285750">
              <a:lnSpc>
                <a:spcPct val="100000"/>
              </a:lnSpc>
              <a:buFont typeface="Arial"/>
              <a:buChar char="•"/>
            </a:pPr>
            <a:r>
              <a:rPr lang="en-US" sz="1800">
                <a:solidFill>
                  <a:srgbClr val="181717"/>
                </a:solidFill>
                <a:ea typeface="Calibri"/>
                <a:cs typeface="Calibri"/>
              </a:rPr>
              <a:t>Attain an understanding of the evaluation process </a:t>
            </a:r>
            <a:endParaRPr lang="en-US" sz="1800">
              <a:ea typeface="Calibri"/>
              <a:cs typeface="Calibri"/>
            </a:endParaRPr>
          </a:p>
          <a:p>
            <a:pPr marL="285750" indent="-285750">
              <a:lnSpc>
                <a:spcPct val="100000"/>
              </a:lnSpc>
              <a:buFont typeface="Arial"/>
              <a:buChar char="•"/>
            </a:pPr>
            <a:r>
              <a:rPr lang="en-US" sz="1800">
                <a:solidFill>
                  <a:srgbClr val="181717"/>
                </a:solidFill>
                <a:ea typeface="Calibri"/>
                <a:cs typeface="Calibri"/>
              </a:rPr>
              <a:t>Become familiar with DEN’s values </a:t>
            </a:r>
            <a:endParaRPr lang="en-US" sz="1800">
              <a:ea typeface="Calibri"/>
              <a:cs typeface="Calibri"/>
            </a:endParaRPr>
          </a:p>
          <a:p>
            <a:pPr marL="285750" indent="-285750">
              <a:lnSpc>
                <a:spcPct val="100000"/>
              </a:lnSpc>
              <a:buFont typeface="Arial"/>
              <a:buChar char="•"/>
            </a:pPr>
            <a:r>
              <a:rPr lang="en-US" sz="1800">
                <a:solidFill>
                  <a:srgbClr val="181717"/>
                </a:solidFill>
                <a:ea typeface="Calibri"/>
                <a:cs typeface="Calibri"/>
              </a:rPr>
              <a:t>Gain experience with DEN’s interview format</a:t>
            </a:r>
            <a:endParaRPr lang="en-US"/>
          </a:p>
          <a:p>
            <a:endParaRPr lang="en-US" sz="2000" b="1">
              <a:ea typeface="Calibri"/>
              <a:cs typeface="Calibri"/>
            </a:endParaRPr>
          </a:p>
        </p:txBody>
      </p:sp>
      <p:sp>
        <p:nvSpPr>
          <p:cNvPr id="4" name="Text Placeholder 3">
            <a:extLst>
              <a:ext uri="{FF2B5EF4-FFF2-40B4-BE49-F238E27FC236}">
                <a16:creationId xmlns:a16="http://schemas.microsoft.com/office/drawing/2014/main" id="{5A20C0F3-ED2C-DF10-367D-3F28E143BDD4}"/>
              </a:ext>
              <a:ext uri="{C183D7F6-B498-43B3-948B-1728B52AA6E4}">
                <adec:decorative xmlns:adec="http://schemas.microsoft.com/office/drawing/2017/decorative" val="1"/>
              </a:ext>
            </a:extLst>
          </p:cNvPr>
          <p:cNvSpPr>
            <a:spLocks noGrp="1"/>
          </p:cNvSpPr>
          <p:nvPr>
            <p:ph type="body" sz="quarter" idx="12"/>
          </p:nvPr>
        </p:nvSpPr>
        <p:spPr/>
        <p:txBody>
          <a:bodyPr/>
          <a:lstStyle/>
          <a:p>
            <a:endParaRPr lang="en-US"/>
          </a:p>
        </p:txBody>
      </p:sp>
      <p:sp>
        <p:nvSpPr>
          <p:cNvPr id="2" name="Slide Number Placeholder 1">
            <a:extLst>
              <a:ext uri="{FF2B5EF4-FFF2-40B4-BE49-F238E27FC236}">
                <a16:creationId xmlns:a16="http://schemas.microsoft.com/office/drawing/2014/main" id="{547E9D5B-86B6-45C2-9AA6-4F9BE0C7134C}"/>
              </a:ext>
              <a:ext uri="{C183D7F6-B498-43B3-948B-1728B52AA6E4}">
                <adec:decorative xmlns:adec="http://schemas.microsoft.com/office/drawing/2017/decorative" val="1"/>
              </a:ext>
            </a:extLst>
          </p:cNvPr>
          <p:cNvSpPr>
            <a:spLocks noGrp="1"/>
          </p:cNvSpPr>
          <p:nvPr>
            <p:ph type="sldNum" sz="quarter" idx="4294967295"/>
          </p:nvPr>
        </p:nvSpPr>
        <p:spPr>
          <a:xfrm>
            <a:off x="9347200" y="6356350"/>
            <a:ext cx="2844800" cy="365125"/>
          </a:xfrm>
          <a:prstGeom prst="rect">
            <a:avLst/>
          </a:prstGeom>
        </p:spPr>
        <p:txBody>
          <a:bodyPr vert="horz" lIns="121920" tIns="60960" rIns="121920" bIns="60960" rtlCol="0" anchor="ctr"/>
          <a:lstStyle>
            <a:defPPr>
              <a:defRPr lang="en-US"/>
            </a:defPPr>
            <a:lvl1pPr algn="r" defTabSz="609585" rtl="0" eaLnBrk="1" fontAlgn="auto" hangingPunct="1">
              <a:spcBef>
                <a:spcPts val="0"/>
              </a:spcBef>
              <a:spcAft>
                <a:spcPts val="0"/>
              </a:spcAft>
              <a:defRPr sz="1401" kern="1200" smtClean="0">
                <a:solidFill>
                  <a:srgbClr val="3B1D85"/>
                </a:solidFill>
                <a:latin typeface="+mn-lt"/>
                <a:ea typeface="+mn-ea"/>
                <a:cs typeface="+mn-cs"/>
              </a:defRPr>
            </a:lvl1pPr>
            <a:lvl2pPr marL="609585" algn="l" defTabSz="609585"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1219170" algn="l" defTabSz="609585"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828754" algn="l" defTabSz="609585"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2438339" algn="l" defTabSz="609585"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3047924" algn="l" defTabSz="1219170" rtl="0" eaLnBrk="1" latinLnBrk="0" hangingPunct="1">
              <a:defRPr kern="1200">
                <a:solidFill>
                  <a:schemeClr val="tx1"/>
                </a:solidFill>
                <a:latin typeface="Calibri" panose="020F0502020204030204" pitchFamily="34" charset="0"/>
                <a:ea typeface="+mn-ea"/>
                <a:cs typeface="+mn-cs"/>
              </a:defRPr>
            </a:lvl6pPr>
            <a:lvl7pPr marL="3657509" algn="l" defTabSz="1219170" rtl="0" eaLnBrk="1" latinLnBrk="0" hangingPunct="1">
              <a:defRPr kern="1200">
                <a:solidFill>
                  <a:schemeClr val="tx1"/>
                </a:solidFill>
                <a:latin typeface="Calibri" panose="020F0502020204030204" pitchFamily="34" charset="0"/>
                <a:ea typeface="+mn-ea"/>
                <a:cs typeface="+mn-cs"/>
              </a:defRPr>
            </a:lvl7pPr>
            <a:lvl8pPr marL="4267093" algn="l" defTabSz="1219170" rtl="0" eaLnBrk="1" latinLnBrk="0" hangingPunct="1">
              <a:defRPr kern="1200">
                <a:solidFill>
                  <a:schemeClr val="tx1"/>
                </a:solidFill>
                <a:latin typeface="Calibri" panose="020F0502020204030204" pitchFamily="34" charset="0"/>
                <a:ea typeface="+mn-ea"/>
                <a:cs typeface="+mn-cs"/>
              </a:defRPr>
            </a:lvl8pPr>
            <a:lvl9pPr marL="4876678" algn="l" defTabSz="1219170" rtl="0" eaLnBrk="1" latinLnBrk="0" hangingPunct="1">
              <a:defRPr kern="1200">
                <a:solidFill>
                  <a:schemeClr val="tx1"/>
                </a:solidFill>
                <a:latin typeface="Calibri" panose="020F0502020204030204" pitchFamily="34" charset="0"/>
                <a:ea typeface="+mn-ea"/>
                <a:cs typeface="+mn-cs"/>
              </a:defRPr>
            </a:lvl9pPr>
          </a:lstStyle>
          <a:p>
            <a:pPr>
              <a:defRPr/>
            </a:pPr>
            <a:fld id="{60743FD7-529B-4A2D-8A4F-19CDDB4BCB9B}" type="slidenum">
              <a:rPr lang="en-US" dirty="0" smtClean="0"/>
              <a:pPr>
                <a:defRPr/>
              </a:pPr>
              <a:t>12</a:t>
            </a:fld>
            <a:endParaRPr lang="en-US"/>
          </a:p>
        </p:txBody>
      </p:sp>
      <p:pic>
        <p:nvPicPr>
          <p:cNvPr id="11" name="Picture Placeholder 10">
            <a:extLst>
              <a:ext uri="{FF2B5EF4-FFF2-40B4-BE49-F238E27FC236}">
                <a16:creationId xmlns:a16="http://schemas.microsoft.com/office/drawing/2014/main" id="{C5CA412B-F2AB-D9E9-0EE1-61D9BF9E02B5}"/>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3">
            <a:extLst>
              <a:ext uri="{BEBA8EAE-BF5A-486C-A8C5-ECC9F3942E4B}">
                <a14:imgProps xmlns:a14="http://schemas.microsoft.com/office/drawing/2010/main">
                  <a14:imgLayer r:embed="rId4">
                    <a14:imgEffect>
                      <a14:brightnessContrast bright="40000" contrast="-20000"/>
                    </a14:imgEffect>
                  </a14:imgLayer>
                </a14:imgProps>
              </a:ext>
            </a:extLst>
          </a:blip>
          <a:srcRect l="45710" t="232" r="25458" b="-232"/>
          <a:stretch/>
        </p:blipFill>
        <p:spPr>
          <a:xfrm>
            <a:off x="8647113" y="-16042"/>
            <a:ext cx="3863085" cy="6922168"/>
          </a:xfrm>
        </p:spPr>
      </p:pic>
      <p:sp>
        <p:nvSpPr>
          <p:cNvPr id="10" name="TextBox 9">
            <a:extLst>
              <a:ext uri="{FF2B5EF4-FFF2-40B4-BE49-F238E27FC236}">
                <a16:creationId xmlns:a16="http://schemas.microsoft.com/office/drawing/2014/main" id="{318F9294-102E-4AF6-4190-4ECFA2D9BC2B}"/>
              </a:ext>
            </a:extLst>
          </p:cNvPr>
          <p:cNvSpPr txBox="1"/>
          <p:nvPr/>
        </p:nvSpPr>
        <p:spPr>
          <a:xfrm>
            <a:off x="3330791" y="4131715"/>
            <a:ext cx="2509183" cy="369332"/>
          </a:xfrm>
          <a:prstGeom prst="rect">
            <a:avLst/>
          </a:prstGeom>
          <a:noFill/>
        </p:spPr>
        <p:txBody>
          <a:bodyPr wrap="square">
            <a:spAutoFit/>
          </a:bodyPr>
          <a:lstStyle/>
          <a:p>
            <a:pPr algn="ctr">
              <a:buNone/>
            </a:pPr>
            <a:r>
              <a:rPr lang="en-US" b="1"/>
              <a:t>Sign Up Today!</a:t>
            </a:r>
            <a:endParaRPr lang="en-US"/>
          </a:p>
        </p:txBody>
      </p:sp>
      <p:pic>
        <p:nvPicPr>
          <p:cNvPr id="12" name="Picture 11" descr="Sign up to be a Community Panelist via https://www.flydenver.com/business-and-community/community-panelist-program/">
            <a:extLst>
              <a:ext uri="{FF2B5EF4-FFF2-40B4-BE49-F238E27FC236}">
                <a16:creationId xmlns:a16="http://schemas.microsoft.com/office/drawing/2014/main" id="{FB8F6921-F9F6-2F5A-9B44-46AF9E5282E5}"/>
              </a:ext>
              <a:ext uri="{C183D7F6-B498-43B3-948B-1728B52AA6E4}">
                <adec:decorative xmlns:adec="http://schemas.microsoft.com/office/drawing/2017/decorative" val="0"/>
              </a:ext>
            </a:extLst>
          </p:cNvPr>
          <p:cNvPicPr>
            <a:picLocks noChangeAspect="1"/>
          </p:cNvPicPr>
          <p:nvPr/>
        </p:nvPicPr>
        <p:blipFill rotWithShape="1">
          <a:blip r:embed="rId5">
            <a:extLst>
              <a:ext uri="{28A0092B-C50C-407E-A947-70E740481C1C}">
                <a14:useLocalDpi xmlns:a14="http://schemas.microsoft.com/office/drawing/2010/main" val="0"/>
              </a:ext>
            </a:extLst>
          </a:blip>
          <a:srcRect l="24874" t="35318" r="25111" b="13956"/>
          <a:stretch/>
        </p:blipFill>
        <p:spPr>
          <a:xfrm>
            <a:off x="3635855" y="4430290"/>
            <a:ext cx="1899057" cy="1926060"/>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B83A421-4AA1-949E-1835-B139B207F183}"/>
              </a:ext>
              <a:ext uri="{C183D7F6-B498-43B3-948B-1728B52AA6E4}">
                <adec:decorative xmlns:adec="http://schemas.microsoft.com/office/drawing/2017/decorative" val="0"/>
              </a:ext>
            </a:extLst>
          </p:cNvPr>
          <p:cNvSpPr>
            <a:spLocks noGrp="1"/>
          </p:cNvSpPr>
          <p:nvPr>
            <p:ph type="title" idx="4294967295"/>
          </p:nvPr>
        </p:nvSpPr>
        <p:spPr>
          <a:xfrm>
            <a:off x="770439" y="420303"/>
            <a:ext cx="869440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440099"/>
                </a:solidFill>
                <a:effectLst/>
                <a:uLnTx/>
                <a:uFillTx/>
                <a:latin typeface="+mn-lt"/>
                <a:ea typeface="+mn-ea"/>
                <a:cs typeface="+mn-cs"/>
              </a:rPr>
              <a:t>Stay Informed</a:t>
            </a:r>
          </a:p>
        </p:txBody>
      </p:sp>
      <p:pic>
        <p:nvPicPr>
          <p:cNvPr id="7" name="Picture 6" descr="Screenshot of BDTA website on Flydenver.com">
            <a:extLst>
              <a:ext uri="{FF2B5EF4-FFF2-40B4-BE49-F238E27FC236}">
                <a16:creationId xmlns:a16="http://schemas.microsoft.com/office/drawing/2014/main" id="{F64DC50F-90A3-E237-68D6-E434F527957E}"/>
              </a:ext>
              <a:ext uri="{C183D7F6-B498-43B3-948B-1728B52AA6E4}">
                <adec:decorative xmlns:adec="http://schemas.microsoft.com/office/drawing/2017/decorative" val="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45394" y="1165940"/>
            <a:ext cx="8545314" cy="3953338"/>
          </a:xfrm>
          <a:prstGeom prst="rect">
            <a:avLst/>
          </a:prstGeom>
        </p:spPr>
      </p:pic>
      <p:sp>
        <p:nvSpPr>
          <p:cNvPr id="3" name="Text Placeholder 2">
            <a:extLst>
              <a:ext uri="{FF2B5EF4-FFF2-40B4-BE49-F238E27FC236}">
                <a16:creationId xmlns:a16="http://schemas.microsoft.com/office/drawing/2014/main" id="{BE42C332-64EA-E52E-8D6E-16B99E225FA4}"/>
              </a:ext>
              <a:ext uri="{C183D7F6-B498-43B3-948B-1728B52AA6E4}">
                <adec:decorative xmlns:adec="http://schemas.microsoft.com/office/drawing/2017/decorative" val="0"/>
              </a:ext>
            </a:extLst>
          </p:cNvPr>
          <p:cNvSpPr>
            <a:spLocks noGrp="1"/>
          </p:cNvSpPr>
          <p:nvPr>
            <p:ph type="body" sz="quarter" idx="12"/>
          </p:nvPr>
        </p:nvSpPr>
        <p:spPr/>
        <p:txBody>
          <a:bodyPr/>
          <a:lstStyle/>
          <a:p>
            <a:endParaRPr lang="en-US"/>
          </a:p>
        </p:txBody>
      </p:sp>
      <p:sp>
        <p:nvSpPr>
          <p:cNvPr id="8" name="TextBox 7">
            <a:extLst>
              <a:ext uri="{FF2B5EF4-FFF2-40B4-BE49-F238E27FC236}">
                <a16:creationId xmlns:a16="http://schemas.microsoft.com/office/drawing/2014/main" id="{8A2DB6B7-F102-A3A1-D06B-B5D67AA81197}"/>
              </a:ext>
              <a:ext uri="{C183D7F6-B498-43B3-948B-1728B52AA6E4}">
                <adec:decorative xmlns:adec="http://schemas.microsoft.com/office/drawing/2017/decorative" val="1"/>
              </a:ext>
            </a:extLst>
          </p:cNvPr>
          <p:cNvSpPr txBox="1"/>
          <p:nvPr/>
        </p:nvSpPr>
        <p:spPr>
          <a:xfrm>
            <a:off x="845394" y="5286597"/>
            <a:ext cx="8275729" cy="1384995"/>
          </a:xfrm>
          <a:prstGeom prst="rect">
            <a:avLst/>
          </a:prstGeom>
          <a:noFill/>
        </p:spPr>
        <p:txBody>
          <a:bodyPr wrap="square" lIns="91440" tIns="45720" rIns="91440" bIns="45720" rtlCol="0" anchor="t">
            <a:spAutoFit/>
          </a:bodyPr>
          <a:lstStyle/>
          <a:p>
            <a:r>
              <a:rPr lang="en-US" sz="1600"/>
              <a:t>BDTA Page: flydenver.com/</a:t>
            </a:r>
            <a:r>
              <a:rPr lang="en-US" sz="1600" err="1"/>
              <a:t>bdta</a:t>
            </a:r>
            <a:r>
              <a:rPr lang="en-US" sz="1600"/>
              <a:t> </a:t>
            </a:r>
            <a:endParaRPr lang="en-US" sz="1600">
              <a:cs typeface="Calibri" panose="020F0502020204030204"/>
            </a:endParaRPr>
          </a:p>
          <a:p>
            <a:endParaRPr lang="en-US" sz="1600">
              <a:cs typeface="Calibri" panose="020F0502020204030204"/>
            </a:endParaRPr>
          </a:p>
          <a:p>
            <a:r>
              <a:rPr lang="en-US" sz="1600">
                <a:cs typeface="Calibri" panose="020F0502020204030204"/>
              </a:rPr>
              <a:t>Contact Us at </a:t>
            </a:r>
            <a:r>
              <a:rPr lang="en-US" sz="1600">
                <a:cs typeface="Calibri" panose="020F0502020204030204"/>
                <a:hlinkClick r:id="rId4"/>
              </a:rPr>
              <a:t>DENTrainingAcademy@flydenver.com</a:t>
            </a:r>
          </a:p>
          <a:p>
            <a:endParaRPr lang="en-US">
              <a:cs typeface="Calibri" panose="020F0502020204030204"/>
            </a:endParaRPr>
          </a:p>
          <a:p>
            <a:endParaRPr lang="en-US">
              <a:cs typeface="Calibri" panose="020F0502020204030204"/>
            </a:endParaRPr>
          </a:p>
        </p:txBody>
      </p:sp>
      <p:pic>
        <p:nvPicPr>
          <p:cNvPr id="6" name="Picture 5">
            <a:extLst>
              <a:ext uri="{FF2B5EF4-FFF2-40B4-BE49-F238E27FC236}">
                <a16:creationId xmlns:a16="http://schemas.microsoft.com/office/drawing/2014/main" id="{2F7036E6-A6AE-E0A3-BB21-591EF73213C2}"/>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788817" y="4660975"/>
            <a:ext cx="1835075" cy="1835075"/>
          </a:xfrm>
          <a:prstGeom prst="rect">
            <a:avLst/>
          </a:prstGeom>
        </p:spPr>
      </p:pic>
    </p:spTree>
    <p:extLst>
      <p:ext uri="{BB962C8B-B14F-4D97-AF65-F5344CB8AC3E}">
        <p14:creationId xmlns:p14="http://schemas.microsoft.com/office/powerpoint/2010/main" val="192859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BE28103E-5A5B-3E31-CA5D-6D3EA5950463}"/>
              </a:ext>
            </a:extLst>
          </p:cNvPr>
          <p:cNvSpPr>
            <a:spLocks noGrp="1"/>
          </p:cNvSpPr>
          <p:nvPr>
            <p:ph type="title" idx="4294967295"/>
          </p:nvPr>
        </p:nvSpPr>
        <p:spPr>
          <a:xfrm>
            <a:off x="770439" y="496503"/>
            <a:ext cx="869440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440099"/>
                </a:solidFill>
                <a:effectLst/>
                <a:uLnTx/>
                <a:uFillTx/>
                <a:latin typeface="+mn-lt"/>
                <a:ea typeface="+mn-ea"/>
                <a:cs typeface="+mn-cs"/>
              </a:rPr>
              <a:t>Citywide Mentor-Protégé Program</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a:ln>
                <a:noFill/>
              </a:ln>
              <a:solidFill>
                <a:srgbClr val="440099"/>
              </a:solidFill>
              <a:effectLst/>
              <a:uLnTx/>
              <a:uFillTx/>
              <a:latin typeface="+mn-lt"/>
              <a:ea typeface="+mn-ea"/>
              <a:cs typeface="+mn-cs"/>
            </a:endParaRPr>
          </a:p>
        </p:txBody>
      </p:sp>
      <p:sp>
        <p:nvSpPr>
          <p:cNvPr id="17" name="Text Placeholder 16">
            <a:extLst>
              <a:ext uri="{FF2B5EF4-FFF2-40B4-BE49-F238E27FC236}">
                <a16:creationId xmlns:a16="http://schemas.microsoft.com/office/drawing/2014/main" id="{8AF580A4-4128-FBFB-CECB-59C916241089}"/>
              </a:ext>
            </a:extLst>
          </p:cNvPr>
          <p:cNvSpPr>
            <a:spLocks noGrp="1"/>
          </p:cNvSpPr>
          <p:nvPr>
            <p:ph type="body" sz="quarter" idx="14"/>
          </p:nvPr>
        </p:nvSpPr>
        <p:spPr>
          <a:xfrm>
            <a:off x="770439" y="1482543"/>
            <a:ext cx="7116360" cy="2059555"/>
          </a:xfrm>
        </p:spPr>
        <p:txBody>
          <a:bodyPr/>
          <a:lstStyle/>
          <a:p>
            <a:r>
              <a:rPr lang="en-US" sz="2000"/>
              <a:t>The Citywide Mentor-Protégé Program is designed to develop long term business relationships between established prime contractors, certified small firms and city agencies. </a:t>
            </a:r>
          </a:p>
          <a:p>
            <a:r>
              <a:rPr lang="en-US" sz="2000"/>
              <a:t>This program is driven by the overarching mission of encouraging the city’s utilization of certified small firms on city professional services, construction, good and service projects.</a:t>
            </a:r>
          </a:p>
        </p:txBody>
      </p:sp>
      <p:sp>
        <p:nvSpPr>
          <p:cNvPr id="20" name="Rectangle 19">
            <a:extLst>
              <a:ext uri="{FF2B5EF4-FFF2-40B4-BE49-F238E27FC236}">
                <a16:creationId xmlns:a16="http://schemas.microsoft.com/office/drawing/2014/main" id="{4CD78729-B099-59DB-0A11-65FFCF463DBF}"/>
              </a:ext>
              <a:ext uri="{C183D7F6-B498-43B3-948B-1728B52AA6E4}">
                <adec:decorative xmlns:adec="http://schemas.microsoft.com/office/drawing/2017/decorative" val="1"/>
              </a:ext>
            </a:extLst>
          </p:cNvPr>
          <p:cNvSpPr/>
          <p:nvPr/>
        </p:nvSpPr>
        <p:spPr>
          <a:xfrm>
            <a:off x="8666438" y="0"/>
            <a:ext cx="3525562" cy="6858000"/>
          </a:xfrm>
          <a:prstGeom prst="rect">
            <a:avLst/>
          </a:prstGeom>
          <a:solidFill>
            <a:srgbClr val="44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Text Placeholder 15">
            <a:extLst>
              <a:ext uri="{FF2B5EF4-FFF2-40B4-BE49-F238E27FC236}">
                <a16:creationId xmlns:a16="http://schemas.microsoft.com/office/drawing/2014/main" id="{5AADF536-F505-1C94-2FBC-3F67D2F2153B}"/>
              </a:ext>
            </a:extLst>
          </p:cNvPr>
          <p:cNvSpPr>
            <a:spLocks noGrp="1"/>
          </p:cNvSpPr>
          <p:nvPr>
            <p:ph type="body" sz="quarter" idx="13"/>
          </p:nvPr>
        </p:nvSpPr>
        <p:spPr>
          <a:xfrm>
            <a:off x="9017597" y="3628724"/>
            <a:ext cx="2823244" cy="2534437"/>
          </a:xfrm>
        </p:spPr>
        <p:txBody>
          <a:bodyPr/>
          <a:lstStyle/>
          <a:p>
            <a:pPr algn="ctr"/>
            <a:r>
              <a:rPr lang="en-US" sz="3000" b="1">
                <a:solidFill>
                  <a:schemeClr val="bg1"/>
                </a:solidFill>
              </a:rPr>
              <a:t>APPLICATIONS ARE NOW OPEN.</a:t>
            </a:r>
          </a:p>
          <a:p>
            <a:pPr algn="ctr"/>
            <a:r>
              <a:rPr lang="en-US" sz="3000" b="1">
                <a:solidFill>
                  <a:schemeClr val="bg1"/>
                </a:solidFill>
              </a:rPr>
              <a:t> </a:t>
            </a:r>
            <a:r>
              <a:rPr lang="en-US" sz="3000" b="1">
                <a:solidFill>
                  <a:srgbClr val="E35B2A"/>
                </a:solidFill>
              </a:rPr>
              <a:t>DEADLINE IS JUNE 12 AT 5PM</a:t>
            </a:r>
          </a:p>
        </p:txBody>
      </p:sp>
      <p:pic>
        <p:nvPicPr>
          <p:cNvPr id="19" name="Picture 18" descr="QR code for Mentor-Protege Program ">
            <a:extLst>
              <a:ext uri="{FF2B5EF4-FFF2-40B4-BE49-F238E27FC236}">
                <a16:creationId xmlns:a16="http://schemas.microsoft.com/office/drawing/2014/main" id="{249A3E55-451A-57BC-CD97-AA0239E92875}"/>
              </a:ext>
            </a:extLst>
          </p:cNvPr>
          <p:cNvPicPr>
            <a:picLocks noChangeAspect="1"/>
          </p:cNvPicPr>
          <p:nvPr/>
        </p:nvPicPr>
        <p:blipFill>
          <a:blip r:embed="rId3"/>
          <a:srcRect t="459" b="20941"/>
          <a:stretch>
            <a:fillRect/>
          </a:stretch>
        </p:blipFill>
        <p:spPr>
          <a:xfrm>
            <a:off x="8810818" y="496504"/>
            <a:ext cx="3224461" cy="2534438"/>
          </a:xfrm>
          <a:prstGeom prst="rect">
            <a:avLst/>
          </a:prstGeom>
        </p:spPr>
      </p:pic>
    </p:spTree>
    <p:extLst>
      <p:ext uri="{BB962C8B-B14F-4D97-AF65-F5344CB8AC3E}">
        <p14:creationId xmlns:p14="http://schemas.microsoft.com/office/powerpoint/2010/main" val="41469756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descr="Legal Disclaimer​">
            <a:extLst>
              <a:ext uri="{FF2B5EF4-FFF2-40B4-BE49-F238E27FC236}">
                <a16:creationId xmlns:a16="http://schemas.microsoft.com/office/drawing/2014/main" id="{02C43F30-EC11-9635-A135-591D565CDEE5}"/>
              </a:ext>
              <a:ext uri="{C183D7F6-B498-43B3-948B-1728B52AA6E4}">
                <adec:decorative xmlns:adec="http://schemas.microsoft.com/office/drawing/2017/decorative" val="0"/>
              </a:ext>
            </a:extLst>
          </p:cNvPr>
          <p:cNvSpPr>
            <a:spLocks noGrp="1"/>
          </p:cNvSpPr>
          <p:nvPr>
            <p:ph type="title" idx="4294967295"/>
          </p:nvPr>
        </p:nvSpPr>
        <p:spPr>
          <a:xfrm>
            <a:off x="770439" y="496503"/>
            <a:ext cx="869440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440099"/>
                </a:solidFill>
                <a:effectLst/>
                <a:uLnTx/>
                <a:uFillTx/>
                <a:latin typeface="+mn-lt"/>
                <a:ea typeface="+mn-ea"/>
                <a:cs typeface="+mn-cs"/>
              </a:rPr>
              <a:t>Legal Disclaimer​</a:t>
            </a:r>
          </a:p>
        </p:txBody>
      </p:sp>
      <p:sp>
        <p:nvSpPr>
          <p:cNvPr id="4" name="Text Placeholder 3" descr="This event is intended to provide the business community with early notice for potential procurement opportunities at DEN, allow companies to meet DEN project managers, and allow firms to network and foster relationships with each other. Projects included in this event are in their early stages of planning, and critical information about these projects (e.g. dates and goals) may be unknown and are otherwise subject to change. The City and County of Denver may, in its discretion, cancel, modify, or place any project on hold at any time, for any reason. ​&#10;&#10;">
            <a:extLst>
              <a:ext uri="{FF2B5EF4-FFF2-40B4-BE49-F238E27FC236}">
                <a16:creationId xmlns:a16="http://schemas.microsoft.com/office/drawing/2014/main" id="{4E6C5A12-6BB9-F92F-6DFD-C5CF58B5A428}"/>
              </a:ext>
              <a:ext uri="{C183D7F6-B498-43B3-948B-1728B52AA6E4}">
                <adec:decorative xmlns:adec="http://schemas.microsoft.com/office/drawing/2017/decorative" val="0"/>
              </a:ext>
            </a:extLst>
          </p:cNvPr>
          <p:cNvSpPr>
            <a:spLocks noGrp="1"/>
          </p:cNvSpPr>
          <p:nvPr>
            <p:ph type="body" sz="quarter" idx="13"/>
          </p:nvPr>
        </p:nvSpPr>
        <p:spPr>
          <a:xfrm>
            <a:off x="769938" y="1555749"/>
            <a:ext cx="9907027" cy="4555339"/>
          </a:xfrm>
        </p:spPr>
        <p:txBody>
          <a:bodyPr/>
          <a:lstStyle/>
          <a:p>
            <a:pPr>
              <a:lnSpc>
                <a:spcPct val="120000"/>
              </a:lnSpc>
            </a:pPr>
            <a:r>
              <a:rPr lang="en-US" sz="2000"/>
              <a:t>This event is intended to provide the business community with early notice for potential procurement opportunities at DEN, allow companies to meet DEN project managers, and allow firms to network and foster relationships with each other. Projects included in this event are in their early stages of planning, and critical information about these projects (e.g. dates and goals) may be unknown and are otherwise subject to change. The City and County of Denver may, in its discretion, cancel, modify, or place any project on hold at any time, for any reason. ​</a:t>
            </a:r>
          </a:p>
          <a:p>
            <a:pPr>
              <a:lnSpc>
                <a:spcPct val="120000"/>
              </a:lnSpc>
            </a:pPr>
            <a:endParaRPr lang="en-US" sz="2000"/>
          </a:p>
        </p:txBody>
      </p:sp>
    </p:spTree>
    <p:extLst>
      <p:ext uri="{BB962C8B-B14F-4D97-AF65-F5344CB8AC3E}">
        <p14:creationId xmlns:p14="http://schemas.microsoft.com/office/powerpoint/2010/main" val="25070766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descr="Upcoming Opportunities – Updated Webpage">
            <a:extLst>
              <a:ext uri="{FF2B5EF4-FFF2-40B4-BE49-F238E27FC236}">
                <a16:creationId xmlns:a16="http://schemas.microsoft.com/office/drawing/2014/main" id="{E31A49D9-D488-963E-D252-8840B6E0167D}"/>
              </a:ext>
              <a:ext uri="{C183D7F6-B498-43B3-948B-1728B52AA6E4}">
                <adec:decorative xmlns:adec="http://schemas.microsoft.com/office/drawing/2017/decorative" val="0"/>
              </a:ext>
            </a:extLst>
          </p:cNvPr>
          <p:cNvSpPr>
            <a:spLocks noGrp="1"/>
          </p:cNvSpPr>
          <p:nvPr>
            <p:ph type="title" idx="4294967295"/>
          </p:nvPr>
        </p:nvSpPr>
        <p:spPr>
          <a:xfrm>
            <a:off x="770439" y="485305"/>
            <a:ext cx="8694738"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440099"/>
                </a:solidFill>
                <a:effectLst/>
                <a:uLnTx/>
                <a:uFillTx/>
                <a:latin typeface="+mn-lt"/>
                <a:ea typeface="+mn-ea"/>
                <a:cs typeface="+mn-cs"/>
              </a:rPr>
              <a:t>Upcoming Opportunities – Updated Webpage</a:t>
            </a:r>
            <a:endParaRPr lang="en-US" sz="2800" b="0" i="0" u="none" strike="noStrike" kern="1200" cap="none" spc="0" normalizeH="0" baseline="0" noProof="0">
              <a:ln>
                <a:noFill/>
              </a:ln>
              <a:solidFill>
                <a:srgbClr val="440099"/>
              </a:solidFill>
              <a:effectLst/>
              <a:uLnTx/>
              <a:uFillTx/>
              <a:latin typeface="+mn-lt"/>
              <a:ea typeface="Calibri"/>
              <a:cs typeface="Calibri"/>
            </a:endParaRPr>
          </a:p>
        </p:txBody>
      </p:sp>
      <p:pic>
        <p:nvPicPr>
          <p:cNvPr id="11" name="Picture 10" descr="We will highlight various procurement opportunities in their initial planning stages, with essential information potentially unknown and subject to change. The City and County of Denver may choose to cancel, modify, or suspend any project for any reason. &#10;&#10;And now we will hand the event over to our project managers. &#10;&#10;https://www.flydenver.com/business-and-community/procurement/opportunities/#opportunities&#10;">
            <a:extLst>
              <a:ext uri="{FF2B5EF4-FFF2-40B4-BE49-F238E27FC236}">
                <a16:creationId xmlns:a16="http://schemas.microsoft.com/office/drawing/2014/main" id="{E92C56A5-F1AF-E313-2540-1B932BAD797C}"/>
              </a:ext>
              <a:ext uri="{C183D7F6-B498-43B3-948B-1728B52AA6E4}">
                <adec:decorative xmlns:adec="http://schemas.microsoft.com/office/drawing/2017/decorative" val="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20704"/>
          <a:stretch/>
        </p:blipFill>
        <p:spPr>
          <a:xfrm>
            <a:off x="770439" y="1577245"/>
            <a:ext cx="9349843" cy="3026732"/>
          </a:xfrm>
          <a:prstGeom prst="rect">
            <a:avLst/>
          </a:prstGeom>
        </p:spPr>
      </p:pic>
      <p:pic>
        <p:nvPicPr>
          <p:cNvPr id="2" name="Picture 1" descr="https://www.flydenver.com/business-and-community/procurement/opportunities/#opportunities">
            <a:extLst>
              <a:ext uri="{FF2B5EF4-FFF2-40B4-BE49-F238E27FC236}">
                <a16:creationId xmlns:a16="http://schemas.microsoft.com/office/drawing/2014/main" id="{81ADF670-AC70-4233-F2A4-FEF4946B7481}"/>
              </a:ext>
              <a:ext uri="{C183D7F6-B498-43B3-948B-1728B52AA6E4}">
                <adec:decorative xmlns:adec="http://schemas.microsoft.com/office/drawing/2017/decorative" val="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251163" y="5878286"/>
            <a:ext cx="808264" cy="808264"/>
          </a:xfrm>
          <a:prstGeom prst="rect">
            <a:avLst/>
          </a:prstGeom>
        </p:spPr>
      </p:pic>
    </p:spTree>
    <p:extLst>
      <p:ext uri="{BB962C8B-B14F-4D97-AF65-F5344CB8AC3E}">
        <p14:creationId xmlns:p14="http://schemas.microsoft.com/office/powerpoint/2010/main" val="29173614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09D625-292C-B566-67AE-A7803A2A99BA}"/>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E67F5FD9-F13D-971F-774F-56FD684BB55B}"/>
              </a:ext>
            </a:extLst>
          </p:cNvPr>
          <p:cNvSpPr>
            <a:spLocks noGrp="1"/>
          </p:cNvSpPr>
          <p:nvPr>
            <p:ph type="title" idx="4294967295"/>
          </p:nvPr>
        </p:nvSpPr>
        <p:spPr>
          <a:xfrm>
            <a:off x="2359839" y="1040045"/>
            <a:ext cx="9527361" cy="1189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rPr>
              <a:t>Common Use Passenger Processing System (CUPPS)</a:t>
            </a:r>
            <a:br>
              <a:rPr lang="en-US" sz="3600" b="0" i="0" u="none" strike="noStrike" kern="1200" cap="none" spc="0" normalizeH="0" baseline="0" noProof="0">
                <a:ln>
                  <a:noFill/>
                </a:ln>
                <a:effectLst/>
                <a:uLnTx/>
                <a:uFillTx/>
                <a:latin typeface="+mn-lt"/>
                <a:ea typeface="Calibri"/>
                <a:cs typeface="Calibri"/>
              </a:rPr>
            </a:br>
            <a:r>
              <a:rPr lang="en-US" sz="3600">
                <a:solidFill>
                  <a:schemeClr val="bg1"/>
                </a:solidFill>
                <a:ea typeface="Calibri Light"/>
                <a:cs typeface="Calibri Light"/>
              </a:rPr>
              <a:t> </a:t>
            </a:r>
            <a:endParaRPr lang="en-US" sz="3600" b="0" i="0" u="none" strike="noStrike" kern="1200" cap="none" spc="0" normalizeH="0" baseline="0" noProof="0">
              <a:ln>
                <a:noFill/>
              </a:ln>
              <a:solidFill>
                <a:schemeClr val="bg1"/>
              </a:solidFill>
              <a:effectLst/>
              <a:uLnTx/>
              <a:uFillTx/>
              <a:latin typeface="+mn-lt"/>
              <a:ea typeface="Calibri"/>
              <a:cs typeface="Calibri"/>
            </a:endParaRPr>
          </a:p>
        </p:txBody>
      </p:sp>
    </p:spTree>
    <p:extLst>
      <p:ext uri="{BB962C8B-B14F-4D97-AF65-F5344CB8AC3E}">
        <p14:creationId xmlns:p14="http://schemas.microsoft.com/office/powerpoint/2010/main" val="4674685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84D195-33BE-1D83-92A3-9E5B051B5FA8}"/>
            </a:ext>
          </a:extLst>
        </p:cNvPr>
        <p:cNvGrpSpPr/>
        <p:nvPr/>
      </p:nvGrpSpPr>
      <p:grpSpPr>
        <a:xfrm>
          <a:off x="0" y="0"/>
          <a:ext cx="0" cy="0"/>
          <a:chOff x="0" y="0"/>
          <a:chExt cx="0" cy="0"/>
        </a:xfrm>
      </p:grpSpPr>
      <p:sp>
        <p:nvSpPr>
          <p:cNvPr id="16" name="Text Placeholder 15" descr="2025 Tunnel Switchgear Heaving Remediation&#10;Six switchgear rooms in the East and West cores of ACON, BCON, and CCON have experienced soil heaving, causing damage to both equipment and enclosures. Additionally, ACON East and West sub-cores face significant water intrusion, impacting switchgear performance.&#10;&#10;Replace damaged switchgear and enclosures.&#10;Install new switchgear on elevated steel platforms anchored to the basement foundation to prevent future heaving impact.&#10;Construct code-compliant enclosures with fire-rated walls, fire suppression, and HVAC.&#10;Remove and replace heaved soil and repair room structures.&#10;Implement water mitigation at ACON sub-cores.&#10;&#10;KEY INFORMATION &#10;Anticipated Advertisement Date:  Q3-Q4&#10;Estimated Project Value: $10M to $49.99M&#10;Small Business Program Goal: TBD&#10;Key Scope/Industry: Electrical, Concrete, Masonry, Earthwork, Civil Utilities, Mechanical, Electrical, Plumbing&#10;Project Manager: Mark Tabugadir| mark.tabugadir@flydenver.com&#10;">
            <a:extLst>
              <a:ext uri="{FF2B5EF4-FFF2-40B4-BE49-F238E27FC236}">
                <a16:creationId xmlns:a16="http://schemas.microsoft.com/office/drawing/2014/main" id="{D5D73DCC-CCB0-AADA-0F72-E276E4F46425}"/>
              </a:ext>
            </a:extLst>
          </p:cNvPr>
          <p:cNvSpPr>
            <a:spLocks noGrp="1"/>
          </p:cNvSpPr>
          <p:nvPr>
            <p:ph type="title" idx="4294967295"/>
          </p:nvPr>
        </p:nvSpPr>
        <p:spPr>
          <a:xfrm>
            <a:off x="703950" y="456072"/>
            <a:ext cx="11066462"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en-US" sz="2800">
                <a:solidFill>
                  <a:srgbClr val="440099"/>
                </a:solidFill>
                <a:latin typeface="+mn-lt"/>
              </a:rPr>
              <a:t>Common Use Passenger Processing System (CUPPS)</a:t>
            </a:r>
            <a:r>
              <a:rPr lang="en-US" sz="2800">
                <a:solidFill>
                  <a:srgbClr val="440099"/>
                </a:solidFill>
                <a:latin typeface="+mn-lt"/>
                <a:ea typeface="+mn-ea"/>
                <a:cs typeface="+mn-cs"/>
              </a:rPr>
              <a:t> </a:t>
            </a:r>
            <a:br>
              <a:rPr lang="en-US" sz="900">
                <a:solidFill>
                  <a:srgbClr val="323130"/>
                </a:solidFill>
                <a:highlight>
                  <a:srgbClr val="EDEBE9"/>
                </a:highlight>
                <a:latin typeface="Segoe UI"/>
                <a:ea typeface="Calibri Light"/>
                <a:cs typeface="Segoe UI"/>
              </a:rPr>
            </a:br>
            <a:endParaRPr lang="en-US" sz="900">
              <a:solidFill>
                <a:srgbClr val="323130"/>
              </a:solidFill>
              <a:highlight>
                <a:srgbClr val="EDEBE9"/>
              </a:highlight>
              <a:latin typeface="Segoe UI"/>
              <a:ea typeface="Calibri Light"/>
              <a:cs typeface="Segoe UI"/>
            </a:endParaRPr>
          </a:p>
          <a:p>
            <a:pPr>
              <a:spcBef>
                <a:spcPts val="1000"/>
              </a:spcBef>
              <a:defRPr/>
            </a:pPr>
            <a:endParaRPr lang="en-US" sz="2800">
              <a:solidFill>
                <a:srgbClr val="440099"/>
              </a:solidFill>
              <a:ea typeface="Calibri Light"/>
              <a:cs typeface="Calibri Light"/>
            </a:endParaRPr>
          </a:p>
        </p:txBody>
      </p:sp>
      <p:sp>
        <p:nvSpPr>
          <p:cNvPr id="3" name="TextBox 2">
            <a:extLst>
              <a:ext uri="{FF2B5EF4-FFF2-40B4-BE49-F238E27FC236}">
                <a16:creationId xmlns:a16="http://schemas.microsoft.com/office/drawing/2014/main" id="{AF2E401D-7E84-4DD1-FD11-CAA69A475904}"/>
              </a:ext>
              <a:ext uri="{C183D7F6-B498-43B3-948B-1728B52AA6E4}">
                <adec:decorative xmlns:adec="http://schemas.microsoft.com/office/drawing/2017/decorative" val="0"/>
              </a:ext>
            </a:extLst>
          </p:cNvPr>
          <p:cNvSpPr txBox="1"/>
          <p:nvPr/>
        </p:nvSpPr>
        <p:spPr>
          <a:xfrm>
            <a:off x="708533" y="1331801"/>
            <a:ext cx="10236507" cy="4278094"/>
          </a:xfrm>
          <a:prstGeom prst="rect">
            <a:avLst/>
          </a:prstGeom>
          <a:noFill/>
        </p:spPr>
        <p:txBody>
          <a:bodyPr wrap="square" lIns="91440" tIns="45720" rIns="91440" bIns="45720" anchor="t">
            <a:spAutoFit/>
          </a:bodyPr>
          <a:lstStyle/>
          <a:p>
            <a:r>
              <a:rPr lang="en-US" sz="1600">
                <a:ea typeface="+mn-lt"/>
                <a:cs typeface="Calibri"/>
              </a:rPr>
              <a:t>Common Use Passenger Processing System (CUPPS) is an IT solution that enables multiple airlines to use existing airport infrastructure (computer hardware, peripheral equipment and local area networking) to control passenger and flight processing through each airline’s own host systems. The CUPPS environment provides airlines with the ability to process passengers in the Jeppesen Terminal and/or at the passenger boarding gates on the concourses.  We are looking for a managed service that includes full vendor-provided onsite and remote support and management. We would prefer a cloud-hosted solution but will look at other proposed IT architectures.</a:t>
            </a:r>
          </a:p>
          <a:p>
            <a:br>
              <a:rPr lang="en-US" sz="1600" b="1" i="0" u="none" strike="noStrike" kern="1200" cap="none" spc="0" normalizeH="0" baseline="0" noProof="0">
                <a:ln>
                  <a:noFill/>
                </a:ln>
                <a:effectLst/>
                <a:uLnTx/>
                <a:uFillTx/>
                <a:ea typeface="+mn-lt"/>
                <a:cs typeface="Calibri"/>
              </a:rPr>
            </a:br>
            <a:r>
              <a:rPr kumimoji="0" lang="en-US" sz="1600" b="1" i="0" u="none" strike="noStrike" kern="1200" cap="none" spc="0" normalizeH="0" baseline="0" noProof="0">
                <a:ln>
                  <a:noFill/>
                </a:ln>
                <a:solidFill>
                  <a:prstClr val="black"/>
                </a:solidFill>
                <a:effectLst/>
                <a:uLnTx/>
                <a:uFillTx/>
                <a:ea typeface="+mn-ea"/>
                <a:cs typeface="Calibri"/>
              </a:rPr>
              <a:t>KEY INFORMATION </a:t>
            </a:r>
            <a:endParaRPr lang="en-US" sz="1600" b="1" i="0" u="none" strike="noStrike" kern="1200" cap="none" spc="0" normalizeH="0" baseline="0" noProof="0">
              <a:ln>
                <a:noFill/>
              </a:ln>
              <a:solidFill>
                <a:prstClr val="black"/>
              </a:solidFill>
              <a:effectLst/>
              <a:uLnTx/>
              <a:uFillTx/>
              <a:ea typeface="Calibri"/>
              <a:cs typeface="Calibri"/>
            </a:endParaRPr>
          </a:p>
          <a:p>
            <a:pPr>
              <a:defRPr/>
            </a:pPr>
            <a:r>
              <a:rPr kumimoji="0" lang="en-US" sz="1600" b="1" i="0" u="none" strike="noStrike" kern="1200" cap="none" spc="0" normalizeH="0" baseline="0" noProof="0">
                <a:ln>
                  <a:noFill/>
                </a:ln>
                <a:effectLst/>
                <a:uLnTx/>
                <a:uFillTx/>
                <a:ea typeface="+mn-ea"/>
                <a:cs typeface="Calibri"/>
              </a:rPr>
              <a:t>Anticipated Advertisement Date: </a:t>
            </a:r>
            <a:r>
              <a:rPr lang="en-US" sz="1600">
                <a:cs typeface="Calibri"/>
              </a:rPr>
              <a:t>Q2 2026</a:t>
            </a:r>
            <a:endParaRPr lang="en-US" sz="1600">
              <a:solidFill>
                <a:prstClr val="black"/>
              </a:solidFill>
              <a:ea typeface="+mn-lt"/>
              <a:cs typeface="+mn-lt"/>
            </a:endParaRPr>
          </a:p>
          <a:p>
            <a:pPr>
              <a:defRPr/>
            </a:pPr>
            <a:r>
              <a:rPr kumimoji="0" lang="en-US" sz="1600" b="1" i="0" u="none" strike="noStrike" kern="1200" cap="none" spc="0" normalizeH="0" baseline="0" noProof="0">
                <a:ln>
                  <a:noFill/>
                </a:ln>
                <a:solidFill>
                  <a:prstClr val="black"/>
                </a:solidFill>
                <a:effectLst/>
                <a:uLnTx/>
                <a:uFillTx/>
                <a:ea typeface="+mn-ea"/>
                <a:cs typeface="Calibri"/>
              </a:rPr>
              <a:t>Estimated Project Value: </a:t>
            </a:r>
            <a:r>
              <a:rPr lang="en-US" sz="1600">
                <a:solidFill>
                  <a:prstClr val="black"/>
                </a:solidFill>
                <a:cs typeface="Calibri"/>
              </a:rPr>
              <a:t>$8M -</a:t>
            </a:r>
            <a:r>
              <a:rPr kumimoji="0" lang="en-US" sz="1600" i="0" u="none" strike="noStrike" kern="1200" cap="none" spc="0" normalizeH="0" baseline="0" noProof="0">
                <a:ln>
                  <a:noFill/>
                </a:ln>
                <a:solidFill>
                  <a:prstClr val="black"/>
                </a:solidFill>
                <a:effectLst/>
                <a:uLnTx/>
                <a:uFillTx/>
                <a:ea typeface="+mn-ea"/>
                <a:cs typeface="Calibri"/>
              </a:rPr>
              <a:t> </a:t>
            </a:r>
            <a:r>
              <a:rPr lang="en-US" sz="1600">
                <a:solidFill>
                  <a:prstClr val="black"/>
                </a:solidFill>
                <a:ea typeface="+mn-lt"/>
                <a:cs typeface="+mn-lt"/>
              </a:rPr>
              <a:t>$10M over 5 years</a:t>
            </a:r>
          </a:p>
          <a:p>
            <a:pPr>
              <a:defRPr/>
            </a:pPr>
            <a:r>
              <a:rPr lang="en-US" sz="1600" b="1">
                <a:ea typeface="+mn-lt"/>
                <a:cs typeface="+mn-lt"/>
              </a:rPr>
              <a:t>Small Business Program Goal: </a:t>
            </a:r>
            <a:r>
              <a:rPr lang="en-US" sz="1600">
                <a:ea typeface="+mn-lt"/>
                <a:cs typeface="+mn-lt"/>
              </a:rPr>
              <a:t>None</a:t>
            </a:r>
          </a:p>
          <a:p>
            <a:pPr>
              <a:defRPr/>
            </a:pPr>
            <a:br>
              <a:rPr lang="en-US" sz="1600" b="1">
                <a:ea typeface="+mn-lt"/>
                <a:cs typeface="+mn-lt"/>
              </a:rPr>
            </a:br>
            <a:r>
              <a:rPr lang="en-US" sz="1600" b="1">
                <a:solidFill>
                  <a:prstClr val="black"/>
                </a:solidFill>
                <a:ea typeface="+mn-lt"/>
                <a:cs typeface="+mn-lt"/>
              </a:rPr>
              <a:t>Key Scope/Industry: </a:t>
            </a:r>
          </a:p>
          <a:p>
            <a:pPr marL="285750" indent="-285750">
              <a:buClr>
                <a:srgbClr val="E35B2A"/>
              </a:buClr>
              <a:buFont typeface="Arial"/>
              <a:buChar char="•"/>
              <a:defRPr/>
            </a:pPr>
            <a:r>
              <a:rPr lang="en-US" sz="1600">
                <a:solidFill>
                  <a:prstClr val="black"/>
                </a:solidFill>
                <a:ea typeface="+mn-lt"/>
                <a:cs typeface="Calibri"/>
              </a:rPr>
              <a:t>Aviation software vendors - specifically those that have an existing Common Use Passenger Processing System product being used at major airports.</a:t>
            </a:r>
          </a:p>
          <a:p>
            <a:pPr marL="285750" indent="-285750">
              <a:buClr>
                <a:srgbClr val="E35B2A"/>
              </a:buClr>
              <a:buFont typeface="Arial"/>
              <a:buChar char="•"/>
              <a:defRPr/>
            </a:pPr>
            <a:endParaRPr kumimoji="0" lang="en-US" sz="1600" i="0" u="none" strike="noStrike" kern="1200" cap="none" spc="0" normalizeH="0" baseline="0" noProof="0">
              <a:ln>
                <a:noFill/>
              </a:ln>
              <a:solidFill>
                <a:prstClr val="black"/>
              </a:solidFill>
              <a:effectLst/>
              <a:uLnTx/>
              <a:uFillTx/>
              <a:ea typeface="+mn-lt"/>
              <a:cs typeface="Calibri"/>
            </a:endParaRPr>
          </a:p>
          <a:p>
            <a:pPr>
              <a:buClr>
                <a:srgbClr val="E35B2A"/>
              </a:buClr>
              <a:defRPr/>
            </a:pPr>
            <a:r>
              <a:rPr kumimoji="0" lang="en-US" sz="1600" b="1" i="0" u="none" strike="noStrike" kern="1200" cap="none" spc="0" normalizeH="0" baseline="0" noProof="0">
                <a:ln>
                  <a:noFill/>
                </a:ln>
                <a:effectLst/>
                <a:uLnTx/>
                <a:uFillTx/>
                <a:ea typeface="+mn-ea"/>
                <a:cs typeface="Calibri"/>
              </a:rPr>
              <a:t>Project Manager: </a:t>
            </a:r>
            <a:r>
              <a:rPr lang="en-US" sz="1600">
                <a:cs typeface="Calibri"/>
              </a:rPr>
              <a:t>Lon Nestrud| </a:t>
            </a:r>
            <a:r>
              <a:rPr lang="en-US" sz="1600">
                <a:cs typeface="Calibri"/>
                <a:hlinkClick r:id="rId3"/>
              </a:rPr>
              <a:t>lon.nestrud@flydenver.com</a:t>
            </a:r>
            <a:r>
              <a:rPr lang="en-US" sz="1600">
                <a:cs typeface="Calibri"/>
              </a:rPr>
              <a:t> </a:t>
            </a:r>
            <a:endParaRPr lang="en-US" sz="1600">
              <a:solidFill>
                <a:srgbClr val="0070C0"/>
              </a:solidFill>
              <a:ea typeface="Calibri"/>
              <a:cs typeface="Calibri"/>
              <a:hlinkClick r:id="" action="ppaction://noaction">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21635541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48EA6C-2998-C87F-C11A-7BB267534BC2}"/>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E9D3AA62-0F1A-0B3A-384A-39BDD98E95A7}"/>
              </a:ext>
            </a:extLst>
          </p:cNvPr>
          <p:cNvSpPr>
            <a:spLocks noGrp="1"/>
          </p:cNvSpPr>
          <p:nvPr>
            <p:ph type="title" idx="4294967295"/>
          </p:nvPr>
        </p:nvSpPr>
        <p:spPr>
          <a:xfrm>
            <a:off x="2359839" y="1040045"/>
            <a:ext cx="9527361" cy="1189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latin typeface="Calibri Light"/>
                <a:ea typeface="Calibri Light"/>
                <a:cs typeface="Calibri Light"/>
              </a:rPr>
              <a:t>CEEA On-Call Workforce Development</a:t>
            </a:r>
            <a:br>
              <a:rPr lang="en-US" sz="3600" b="0" i="0" u="none" strike="noStrike" kern="1200" cap="none" spc="0" normalizeH="0" baseline="0" noProof="0">
                <a:ln>
                  <a:noFill/>
                </a:ln>
                <a:effectLst/>
                <a:uLnTx/>
                <a:uFillTx/>
                <a:latin typeface="+mn-lt"/>
                <a:ea typeface="Calibri"/>
                <a:cs typeface="Calibri"/>
              </a:rPr>
            </a:br>
            <a:r>
              <a:rPr lang="en-US" sz="3600">
                <a:solidFill>
                  <a:schemeClr val="bg1"/>
                </a:solidFill>
                <a:ea typeface="Calibri Light"/>
                <a:cs typeface="Calibri Light"/>
              </a:rPr>
              <a:t> </a:t>
            </a:r>
            <a:endParaRPr lang="en-US" sz="3600" b="0" i="0" u="none" strike="noStrike" kern="1200" cap="none" spc="0" normalizeH="0" baseline="0" noProof="0">
              <a:ln>
                <a:noFill/>
              </a:ln>
              <a:solidFill>
                <a:schemeClr val="bg1"/>
              </a:solidFill>
              <a:effectLst/>
              <a:uLnTx/>
              <a:uFillTx/>
              <a:latin typeface="+mn-lt"/>
              <a:ea typeface="Calibri"/>
              <a:cs typeface="Calibri"/>
            </a:endParaRPr>
          </a:p>
        </p:txBody>
      </p:sp>
    </p:spTree>
    <p:extLst>
      <p:ext uri="{BB962C8B-B14F-4D97-AF65-F5344CB8AC3E}">
        <p14:creationId xmlns:p14="http://schemas.microsoft.com/office/powerpoint/2010/main" val="15513882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descr="Agenda">
            <a:extLst>
              <a:ext uri="{FF2B5EF4-FFF2-40B4-BE49-F238E27FC236}">
                <a16:creationId xmlns:a16="http://schemas.microsoft.com/office/drawing/2014/main" id="{24841190-7D96-86CF-DEBA-2CD24B300636}"/>
              </a:ext>
              <a:ext uri="{C183D7F6-B498-43B3-948B-1728B52AA6E4}">
                <adec:decorative xmlns:adec="http://schemas.microsoft.com/office/drawing/2017/decorative" val="0"/>
              </a:ext>
            </a:extLst>
          </p:cNvPr>
          <p:cNvSpPr>
            <a:spLocks noGrp="1"/>
          </p:cNvSpPr>
          <p:nvPr>
            <p:ph type="title" idx="4294967295"/>
          </p:nvPr>
        </p:nvSpPr>
        <p:spPr>
          <a:xfrm>
            <a:off x="859316" y="546951"/>
            <a:ext cx="8694738"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440099"/>
                </a:solidFill>
                <a:effectLst/>
                <a:uLnTx/>
                <a:uFillTx/>
                <a:latin typeface="+mn-lt"/>
                <a:ea typeface="+mn-ea"/>
                <a:cs typeface="+mn-cs"/>
              </a:rPr>
              <a:t>Agenda</a:t>
            </a:r>
          </a:p>
        </p:txBody>
      </p:sp>
      <p:sp>
        <p:nvSpPr>
          <p:cNvPr id="8" name="Text Placeholder 7" descr="Housekeeping&#10;Who Is In The Audience?&#10;About DEN&#10;Procurement Opportunities&#10;Breakout Rooms And Networking&#10;&#10;">
            <a:extLst>
              <a:ext uri="{FF2B5EF4-FFF2-40B4-BE49-F238E27FC236}">
                <a16:creationId xmlns:a16="http://schemas.microsoft.com/office/drawing/2014/main" id="{D5AE1A90-9B8F-832E-D55F-CD23D1E8F277}"/>
              </a:ext>
              <a:ext uri="{C183D7F6-B498-43B3-948B-1728B52AA6E4}">
                <adec:decorative xmlns:adec="http://schemas.microsoft.com/office/drawing/2017/decorative" val="0"/>
              </a:ext>
            </a:extLst>
          </p:cNvPr>
          <p:cNvSpPr>
            <a:spLocks noGrp="1"/>
          </p:cNvSpPr>
          <p:nvPr>
            <p:ph type="body" sz="quarter" idx="4294967295"/>
          </p:nvPr>
        </p:nvSpPr>
        <p:spPr>
          <a:xfrm>
            <a:off x="859315" y="1529924"/>
            <a:ext cx="9437623" cy="2024063"/>
          </a:xfrm>
          <a:prstGeom prst="rect">
            <a:avLst/>
          </a:prstGeom>
        </p:spPr>
        <p:txBody>
          <a:bodyPr/>
          <a:lstStyle/>
          <a:p>
            <a:pPr marL="285750" lvl="0" indent="-285750">
              <a:buClr>
                <a:srgbClr val="E35B2A"/>
              </a:buClr>
              <a:buFont typeface="Arial" panose="020B0604020202020204" pitchFamily="34" charset="0"/>
              <a:buChar char="•"/>
            </a:pPr>
            <a:r>
              <a:rPr lang="en-US" sz="2000" b="0"/>
              <a:t>Housekeeping</a:t>
            </a:r>
          </a:p>
          <a:p>
            <a:pPr marL="285750" lvl="0" indent="-285750" rtl="0">
              <a:buClr>
                <a:srgbClr val="E35B2A"/>
              </a:buClr>
              <a:buFont typeface="Arial" panose="020B0604020202020204" pitchFamily="34" charset="0"/>
              <a:buChar char="•"/>
            </a:pPr>
            <a:r>
              <a:rPr lang="en-US" sz="2000" b="0"/>
              <a:t>Who Is In The Audience?</a:t>
            </a:r>
          </a:p>
          <a:p>
            <a:pPr marL="285750" lvl="0" indent="-285750" rtl="0">
              <a:buClr>
                <a:srgbClr val="E35B2A"/>
              </a:buClr>
              <a:buFont typeface="Arial" panose="020B0604020202020204" pitchFamily="34" charset="0"/>
              <a:buChar char="•"/>
            </a:pPr>
            <a:r>
              <a:rPr lang="en-US" sz="2000" b="0"/>
              <a:t>About DEN</a:t>
            </a:r>
          </a:p>
          <a:p>
            <a:pPr marL="285750" lvl="0" indent="-285750">
              <a:buClr>
                <a:srgbClr val="E35B2A"/>
              </a:buClr>
              <a:buFont typeface="Arial" panose="020B0604020202020204" pitchFamily="34" charset="0"/>
              <a:buChar char="•"/>
            </a:pPr>
            <a:r>
              <a:rPr lang="en-US" sz="2000" b="0" i="0"/>
              <a:t>Procurement Opportunities</a:t>
            </a:r>
            <a:endParaRPr lang="en-US" sz="2000"/>
          </a:p>
          <a:p>
            <a:pPr marL="285750" lvl="0" indent="-285750">
              <a:buClr>
                <a:srgbClr val="E35B2A"/>
              </a:buClr>
              <a:buFont typeface="Arial" panose="020B0604020202020204" pitchFamily="34" charset="0"/>
              <a:buChar char="•"/>
            </a:pPr>
            <a:r>
              <a:rPr lang="en-US" sz="2000"/>
              <a:t>Breakout Rooms And Networking</a:t>
            </a:r>
          </a:p>
          <a:p>
            <a:pPr marL="285750" indent="-285750">
              <a:buClr>
                <a:srgbClr val="E35B2A"/>
              </a:buClr>
              <a:buFont typeface="Arial" panose="020B0604020202020204" pitchFamily="34" charset="0"/>
              <a:buChar char="•"/>
            </a:pPr>
            <a:endParaRPr lang="en-US"/>
          </a:p>
        </p:txBody>
      </p:sp>
      <p:sp>
        <p:nvSpPr>
          <p:cNvPr id="2" name="TextBox 1">
            <a:extLst>
              <a:ext uri="{FF2B5EF4-FFF2-40B4-BE49-F238E27FC236}">
                <a16:creationId xmlns:a16="http://schemas.microsoft.com/office/drawing/2014/main" id="{2A8E78A2-CF2A-D967-9BA5-445035F99065}"/>
              </a:ext>
              <a:ext uri="{C183D7F6-B498-43B3-948B-1728B52AA6E4}">
                <adec:decorative xmlns:adec="http://schemas.microsoft.com/office/drawing/2017/decorative" val="1"/>
              </a:ext>
            </a:extLst>
          </p:cNvPr>
          <p:cNvSpPr txBox="1"/>
          <p:nvPr/>
        </p:nvSpPr>
        <p:spPr>
          <a:xfrm>
            <a:off x="770439" y="3959111"/>
            <a:ext cx="9526500" cy="2308324"/>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REMIND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This information will be shared with all attendees in a follow-up email from </a:t>
            </a: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Eventbrite.com</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which will also include the registration list and present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dditionally, it will be posted on our website at </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hlinkClick r:id="rId3"/>
              </a:rPr>
              <a:t>www.flydenver.com/business-and-community/outreach-and-engagement/#pastevents</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within the next 3 business day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73268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346155-89DD-F76C-2D97-558A9220991C}"/>
            </a:ext>
          </a:extLst>
        </p:cNvPr>
        <p:cNvGrpSpPr/>
        <p:nvPr/>
      </p:nvGrpSpPr>
      <p:grpSpPr>
        <a:xfrm>
          <a:off x="0" y="0"/>
          <a:ext cx="0" cy="0"/>
          <a:chOff x="0" y="0"/>
          <a:chExt cx="0" cy="0"/>
        </a:xfrm>
      </p:grpSpPr>
      <p:sp>
        <p:nvSpPr>
          <p:cNvPr id="16" name="Text Placeholder 15" descr="2025 Tunnel Switchgear Heaving Remediation&#10;Six switchgear rooms in the East and West cores of ACON, BCON, and CCON have experienced soil heaving, causing damage to both equipment and enclosures. Additionally, ACON East and West sub-cores face significant water intrusion, impacting switchgear performance.&#10;&#10;Replace damaged switchgear and enclosures.&#10;Install new switchgear on elevated steel platforms anchored to the basement foundation to prevent future heaving impact.&#10;Construct code-compliant enclosures with fire-rated walls, fire suppression, and HVAC.&#10;Remove and replace heaved soil and repair room structures.&#10;Implement water mitigation at ACON sub-cores.&#10;&#10;KEY INFORMATION &#10;Anticipated Advertisement Date:  Q3-Q4&#10;Estimated Project Value: $10M to $49.99M&#10;Small Business Program Goal: TBD&#10;Key Scope/Industry: Electrical, Concrete, Masonry, Earthwork, Civil Utilities, Mechanical, Electrical, Plumbing&#10;Project Manager: Mark Tabugadir| mark.tabugadir@flydenver.com&#10;">
            <a:extLst>
              <a:ext uri="{FF2B5EF4-FFF2-40B4-BE49-F238E27FC236}">
                <a16:creationId xmlns:a16="http://schemas.microsoft.com/office/drawing/2014/main" id="{E02F61DA-A8B9-A8A2-7AF3-7A831019AD49}"/>
              </a:ext>
            </a:extLst>
          </p:cNvPr>
          <p:cNvSpPr>
            <a:spLocks noGrp="1"/>
          </p:cNvSpPr>
          <p:nvPr>
            <p:ph type="title" idx="4294967295"/>
          </p:nvPr>
        </p:nvSpPr>
        <p:spPr>
          <a:xfrm>
            <a:off x="703950" y="456072"/>
            <a:ext cx="11066462"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en-US" sz="2800">
                <a:solidFill>
                  <a:srgbClr val="440099"/>
                </a:solidFill>
                <a:latin typeface="+mn-lt"/>
                <a:ea typeface="+mn-ea"/>
                <a:cs typeface="+mn-cs"/>
              </a:rPr>
              <a:t>CEEA </a:t>
            </a:r>
            <a:r>
              <a:rPr lang="en-US" sz="2800">
                <a:solidFill>
                  <a:srgbClr val="440099"/>
                </a:solidFill>
                <a:latin typeface="Calibri"/>
                <a:ea typeface="Calibri"/>
                <a:cs typeface="Calibri"/>
              </a:rPr>
              <a:t>On-Call Workforce Development </a:t>
            </a:r>
            <a:br>
              <a:rPr lang="en-US" sz="900">
                <a:highlight>
                  <a:srgbClr val="EDEBE9"/>
                </a:highlight>
                <a:latin typeface="Segoe UI"/>
                <a:ea typeface="Calibri Light"/>
                <a:cs typeface="Segoe UI"/>
              </a:rPr>
            </a:br>
            <a:endParaRPr lang="en-US" sz="900">
              <a:solidFill>
                <a:srgbClr val="323130"/>
              </a:solidFill>
              <a:highlight>
                <a:srgbClr val="EDEBE9"/>
              </a:highlight>
              <a:latin typeface="Segoe UI"/>
              <a:ea typeface="Calibri Light"/>
              <a:cs typeface="Segoe UI"/>
            </a:endParaRPr>
          </a:p>
          <a:p>
            <a:pPr>
              <a:spcBef>
                <a:spcPts val="1000"/>
              </a:spcBef>
              <a:defRPr/>
            </a:pPr>
            <a:endParaRPr lang="en-US" sz="2800">
              <a:solidFill>
                <a:srgbClr val="440099"/>
              </a:solidFill>
              <a:ea typeface="Calibri Light"/>
              <a:cs typeface="Calibri Light"/>
            </a:endParaRPr>
          </a:p>
        </p:txBody>
      </p:sp>
      <p:sp>
        <p:nvSpPr>
          <p:cNvPr id="3" name="TextBox 2">
            <a:extLst>
              <a:ext uri="{FF2B5EF4-FFF2-40B4-BE49-F238E27FC236}">
                <a16:creationId xmlns:a16="http://schemas.microsoft.com/office/drawing/2014/main" id="{52609CF0-76DE-AD82-E86C-69F516B64733}"/>
              </a:ext>
              <a:ext uri="{C183D7F6-B498-43B3-948B-1728B52AA6E4}">
                <adec:decorative xmlns:adec="http://schemas.microsoft.com/office/drawing/2017/decorative" val="0"/>
              </a:ext>
            </a:extLst>
          </p:cNvPr>
          <p:cNvSpPr txBox="1"/>
          <p:nvPr/>
        </p:nvSpPr>
        <p:spPr>
          <a:xfrm>
            <a:off x="708533" y="1331801"/>
            <a:ext cx="10236507" cy="452431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a:rPr>
              <a:t>DEN will establish an on‑call contract to support workforce and leadership development through the Center of Equity and Excellence in Aviation. The contract will create a pre-qualified pool of firms that can provide coaching, workshops, facilitation and professional services that strengthen DEN’s talent pipeline and organizational effectiveness.</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1600" b="1" i="0" u="none" strike="noStrike" kern="1200" cap="none" spc="0" normalizeH="0" baseline="0" noProof="0">
                <a:ln>
                  <a:noFill/>
                </a:ln>
                <a:effectLst/>
                <a:uLnTx/>
                <a:uFillTx/>
                <a:latin typeface="Calibri" panose="020F0502020204030204"/>
                <a:ea typeface="Calibri" panose="020F0502020204030204"/>
                <a:cs typeface="Calibri"/>
              </a:rPr>
            </a:br>
            <a:r>
              <a:rPr kumimoji="0" lang="en-US" sz="1600" b="1" i="0" u="none" strike="noStrike" kern="1200" cap="none" spc="0" normalizeH="0" baseline="0" noProof="0">
                <a:ln>
                  <a:noFill/>
                </a:ln>
                <a:solidFill>
                  <a:prstClr val="black"/>
                </a:solidFill>
                <a:effectLst/>
                <a:uLnTx/>
                <a:uFillTx/>
                <a:latin typeface="Calibri" panose="020F0502020204030204"/>
                <a:ea typeface="+mn-ea"/>
                <a:cs typeface="Calibri"/>
              </a:rPr>
              <a:t>KEY INFORMATION </a:t>
            </a:r>
            <a:endParaRPr kumimoji="0" lang="en-US" sz="1600" b="1"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Calibri"/>
              </a:rPr>
              <a:t>Anticipated Advertisement Date: </a:t>
            </a:r>
            <a:r>
              <a:rPr lang="en-US" sz="1600">
                <a:solidFill>
                  <a:prstClr val="black"/>
                </a:solidFill>
                <a:latin typeface="Calibri" panose="020F0502020204030204"/>
                <a:cs typeface="Calibri"/>
              </a:rPr>
              <a:t>June</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rPr>
              <a:t> 2026</a:t>
            </a:r>
            <a:endPar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Calibri"/>
              </a:rPr>
              <a:t>Estimated Project Value: </a:t>
            </a:r>
            <a:r>
              <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a:t>
            </a:r>
            <a:r>
              <a:rPr lang="en-US" sz="1600">
                <a:solidFill>
                  <a:prstClr val="black"/>
                </a:solidFill>
                <a:latin typeface="Calibri" panose="020F0502020204030204"/>
                <a:ea typeface="Calibri" panose="020F0502020204030204"/>
                <a:cs typeface="Calibri" panose="020F0502020204030204"/>
              </a:rPr>
              <a:t>1.3M</a:t>
            </a:r>
            <a:endParaRPr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endParaRPr>
          </a:p>
          <a:p>
            <a:pPr>
              <a:defRPr/>
            </a:pPr>
            <a:r>
              <a:rPr kumimoji="0" lang="en-US" sz="1600" b="1"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Small Business Program Goal: </a:t>
            </a:r>
            <a:r>
              <a:rPr lang="en-US" sz="1600">
                <a:solidFill>
                  <a:prstClr val="black"/>
                </a:solidFill>
                <a:latin typeface="Calibri" panose="020F0502020204030204"/>
                <a:ea typeface="Calibri" panose="020F0502020204030204"/>
                <a:cs typeface="Calibri" panose="020F0502020204030204"/>
              </a:rPr>
              <a:t>No goals</a:t>
            </a:r>
            <a:endParaRPr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br>
              <a:rPr lang="en-US" sz="1600" b="1" i="0" u="none" strike="noStrike" kern="1200" cap="none" spc="0" normalizeH="0" baseline="0" noProof="0">
                <a:ln>
                  <a:noFill/>
                </a:ln>
                <a:effectLst/>
                <a:uLnTx/>
                <a:uFillTx/>
                <a:latin typeface="Calibri" panose="020F0502020204030204"/>
                <a:ea typeface="Calibri" panose="020F0502020204030204"/>
                <a:cs typeface="Calibri" panose="020F0502020204030204"/>
              </a:rPr>
            </a:br>
            <a:r>
              <a:rPr kumimoji="0" lang="en-US" sz="1600" b="1"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Key Scope/Industry: </a:t>
            </a:r>
            <a:endParaRPr lang="en-US" sz="1600" b="1"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endParaRPr>
          </a:p>
          <a:p>
            <a:pPr marL="285750" marR="0" lvl="0" indent="-285750" algn="l" defTabSz="914400" rtl="0" eaLnBrk="1" fontAlgn="auto" latinLnBrk="0" hangingPunct="1">
              <a:lnSpc>
                <a:spcPct val="100000"/>
              </a:lnSpc>
              <a:spcBef>
                <a:spcPts val="0"/>
              </a:spcBef>
              <a:spcAft>
                <a:spcPts val="0"/>
              </a:spcAft>
              <a:buClr>
                <a:srgbClr val="E35B2A"/>
              </a:buClr>
              <a:buSzTx/>
              <a:buFont typeface="Arial"/>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a:rPr>
              <a:t>Executive coaching</a:t>
            </a:r>
          </a:p>
          <a:p>
            <a:pPr marL="285750" marR="0" lvl="0" indent="-285750" algn="l" defTabSz="914400" rtl="0" eaLnBrk="1" fontAlgn="auto" latinLnBrk="0" hangingPunct="1">
              <a:lnSpc>
                <a:spcPct val="100000"/>
              </a:lnSpc>
              <a:spcBef>
                <a:spcPts val="0"/>
              </a:spcBef>
              <a:spcAft>
                <a:spcPts val="0"/>
              </a:spcAft>
              <a:buClr>
                <a:srgbClr val="E35B2A"/>
              </a:buClr>
              <a:buSzTx/>
              <a:buFont typeface="Arial"/>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a:rPr>
              <a:t>Workshop design and facilitation</a:t>
            </a:r>
          </a:p>
          <a:p>
            <a:pPr marL="285750" marR="0" lvl="0" indent="-285750" algn="l" defTabSz="914400" rtl="0" eaLnBrk="1" fontAlgn="auto" latinLnBrk="0" hangingPunct="1">
              <a:lnSpc>
                <a:spcPct val="100000"/>
              </a:lnSpc>
              <a:spcBef>
                <a:spcPts val="0"/>
              </a:spcBef>
              <a:spcAft>
                <a:spcPts val="0"/>
              </a:spcAft>
              <a:buClr>
                <a:srgbClr val="E35B2A"/>
              </a:buClr>
              <a:buSzTx/>
              <a:buFont typeface="Arial"/>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a:rPr>
              <a:t>Selection committee support</a:t>
            </a:r>
          </a:p>
          <a:p>
            <a:pPr marL="285750" marR="0" lvl="0" indent="-285750" algn="l" defTabSz="914400" rtl="0" eaLnBrk="1" fontAlgn="auto" latinLnBrk="0" hangingPunct="1">
              <a:lnSpc>
                <a:spcPct val="100000"/>
              </a:lnSpc>
              <a:spcBef>
                <a:spcPts val="0"/>
              </a:spcBef>
              <a:spcAft>
                <a:spcPts val="0"/>
              </a:spcAft>
              <a:buClr>
                <a:srgbClr val="E35B2A"/>
              </a:buClr>
              <a:buSzTx/>
              <a:buFont typeface="Arial"/>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a:rPr>
              <a:t>Organizational development and HR consulting</a:t>
            </a:r>
          </a:p>
          <a:p>
            <a:pPr marL="285750" marR="0" lvl="0" indent="-285750" algn="l" defTabSz="914400" rtl="0" eaLnBrk="1" fontAlgn="auto" latinLnBrk="0" hangingPunct="1">
              <a:lnSpc>
                <a:spcPct val="100000"/>
              </a:lnSpc>
              <a:spcBef>
                <a:spcPts val="0"/>
              </a:spcBef>
              <a:spcAft>
                <a:spcPts val="0"/>
              </a:spcAft>
              <a:buClr>
                <a:srgbClr val="E35B2A"/>
              </a:buClr>
              <a:buSzTx/>
              <a:buFont typeface="Arial"/>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a:rPr>
              <a:t>Learning design and delivery</a:t>
            </a:r>
          </a:p>
          <a:p>
            <a:pPr marL="285750" marR="0" lvl="0" indent="-285750" algn="l" defTabSz="914400" rtl="0" eaLnBrk="1" fontAlgn="auto" latinLnBrk="0" hangingPunct="1">
              <a:lnSpc>
                <a:spcPct val="100000"/>
              </a:lnSpc>
              <a:spcBef>
                <a:spcPts val="0"/>
              </a:spcBef>
              <a:spcAft>
                <a:spcPts val="0"/>
              </a:spcAft>
              <a:buClr>
                <a:srgbClr val="E35B2A"/>
              </a:buClr>
              <a:buSzTx/>
              <a:buFont typeface="Arial"/>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a:rPr>
              <a:t>Program management</a:t>
            </a:r>
          </a:p>
          <a:p>
            <a:pPr marL="285750" marR="0" lvl="0" indent="-285750" algn="l" defTabSz="914400" rtl="0" eaLnBrk="1" fontAlgn="auto" latinLnBrk="0" hangingPunct="1">
              <a:lnSpc>
                <a:spcPct val="100000"/>
              </a:lnSpc>
              <a:spcBef>
                <a:spcPts val="0"/>
              </a:spcBef>
              <a:spcAft>
                <a:spcPts val="0"/>
              </a:spcAft>
              <a:buClr>
                <a:srgbClr val="E35B2A"/>
              </a:buClr>
              <a:buSzTx/>
              <a:buFont typeface="Arial"/>
              <a:buChar char="•"/>
              <a:tabLst/>
              <a:defRPr/>
            </a:pPr>
            <a:endParaRPr kumimoji="0" lang="en-US" sz="1600" b="1" i="0" u="none" strike="noStrike" kern="1200" cap="none" spc="0" normalizeH="0" baseline="0" noProof="0">
              <a:ln>
                <a:noFill/>
              </a:ln>
              <a:solidFill>
                <a:prstClr val="black"/>
              </a:solidFill>
              <a:effectLst/>
              <a:uLnTx/>
              <a:uFillTx/>
              <a:latin typeface="Calibri" panose="020F0502020204030204"/>
              <a:ea typeface="Calibri" panose="020F0502020204030204"/>
              <a:cs typeface="Calibri"/>
            </a:endParaRPr>
          </a:p>
          <a:p>
            <a:pPr marL="0" marR="0" lvl="0" indent="0" algn="l" defTabSz="914400" rtl="0" eaLnBrk="1" fontAlgn="auto" latinLnBrk="0" hangingPunct="1">
              <a:lnSpc>
                <a:spcPct val="100000"/>
              </a:lnSpc>
              <a:spcBef>
                <a:spcPts val="0"/>
              </a:spcBef>
              <a:spcAft>
                <a:spcPts val="0"/>
              </a:spcAft>
              <a:buClr>
                <a:srgbClr val="E35B2A"/>
              </a:buClr>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Calibri"/>
              </a:rPr>
              <a:t>Project Manager: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rPr>
              <a:t>Luis Zazueta |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hlinkClick r:id="rId3"/>
              </a:rPr>
              <a:t>luis.zazueta@flydenver.com</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rPr>
              <a:t>   </a:t>
            </a:r>
            <a:endParaRPr kumimoji="0" lang="en-US" sz="1600" b="0" i="0" u="none" strike="noStrike" kern="1200" cap="none" spc="0" normalizeH="0" baseline="0" noProof="0">
              <a:ln>
                <a:noFill/>
              </a:ln>
              <a:solidFill>
                <a:srgbClr val="0070C0"/>
              </a:solidFill>
              <a:effectLst/>
              <a:uLnTx/>
              <a:uFillTx/>
              <a:latin typeface="Calibri" panose="020F0502020204030204"/>
              <a:ea typeface="Calibri"/>
              <a:cs typeface="Calibri"/>
              <a:hlinkClick r:id="" action="ppaction://noaction">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8012653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9949E0-9BC6-F831-CDDA-4946CC2E39B5}"/>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2A42BBB6-C711-C25B-0EB1-29002967C0A0}"/>
              </a:ext>
            </a:extLst>
          </p:cNvPr>
          <p:cNvSpPr>
            <a:spLocks noGrp="1"/>
          </p:cNvSpPr>
          <p:nvPr>
            <p:ph type="title" idx="4294967295"/>
          </p:nvPr>
        </p:nvSpPr>
        <p:spPr>
          <a:xfrm>
            <a:off x="2359841" y="1040046"/>
            <a:ext cx="8694737" cy="1189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latin typeface="Calibri Light"/>
                <a:ea typeface="Calibri Light"/>
                <a:cs typeface="Calibri Light"/>
              </a:rPr>
              <a:t>2027-29 DEN Summer Concert Series</a:t>
            </a:r>
            <a:br>
              <a:rPr lang="en-US" sz="3600">
                <a:latin typeface="Calibri Light"/>
                <a:ea typeface="Calibri Light"/>
                <a:cs typeface="Calibri Light"/>
              </a:rPr>
            </a:br>
            <a:r>
              <a:rPr lang="en-US" sz="3600">
                <a:solidFill>
                  <a:schemeClr val="bg1"/>
                </a:solidFill>
                <a:ea typeface="Calibri Light"/>
                <a:cs typeface="Calibri Light"/>
              </a:rPr>
              <a:t> </a:t>
            </a:r>
            <a:endParaRPr lang="en-US" sz="3600">
              <a:solidFill>
                <a:schemeClr val="bg1"/>
              </a:solidFill>
              <a:latin typeface="+mn-lt"/>
              <a:ea typeface="Calibri"/>
              <a:cs typeface="Calibri"/>
            </a:endParaRPr>
          </a:p>
        </p:txBody>
      </p:sp>
    </p:spTree>
    <p:extLst>
      <p:ext uri="{BB962C8B-B14F-4D97-AF65-F5344CB8AC3E}">
        <p14:creationId xmlns:p14="http://schemas.microsoft.com/office/powerpoint/2010/main" val="30599989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41DC37-9BCD-C925-57DF-C3CE7D720001}"/>
            </a:ext>
          </a:extLst>
        </p:cNvPr>
        <p:cNvGrpSpPr/>
        <p:nvPr/>
      </p:nvGrpSpPr>
      <p:grpSpPr>
        <a:xfrm>
          <a:off x="0" y="0"/>
          <a:ext cx="0" cy="0"/>
          <a:chOff x="0" y="0"/>
          <a:chExt cx="0" cy="0"/>
        </a:xfrm>
      </p:grpSpPr>
      <p:sp>
        <p:nvSpPr>
          <p:cNvPr id="16" name="Text Placeholder 15" descr="Security Services, Public Area and Curbside Interfaces&#10;Select a qualified firm to provide security services at Denver International Airport (DEN).&#10;&#10;Scope of Work: &#10;Traffic control, security at sensitive access points, and door alarm response&#10;Loading dock oversight (50+ deliveries/day), patrols, credential verification, and incident resolution&#10;Public Parking Lot patrols, Airport Office Building access, and person vetting&#10;Enforcement of DEN Rules &amp; Regulations and additional security posts as needed&#10;&#10;Workload:&#10;5400 weekly hours (135 FTEs), including Full-Time, Part-Time, and On-Call positions&#10;24/7 staffing for curbside, passenger pick-up/drop-off on levels 4 &amp; 6&#10;Support for 40,000+ vehicle entries per day&#10;​&#10;KEY INFORMATION ​&#10;Anticipated Advertisement Date:  Q2 2025 &#10;Estimated Project Value:  $50M to $99.99M&#10;Small Business Program Goal: 5% MWBE&#10;Key Scope/Industry:​  Security Guard Services, Public Area, and Curbside Interfaces&#10;Project Manager​: Matt Gomez-Peterson; matthew.gomez-peterson@flydenver.com &#10;&#10;Breakout Room Closed – Contact Project Manager&#10;&#10;">
            <a:extLst>
              <a:ext uri="{FF2B5EF4-FFF2-40B4-BE49-F238E27FC236}">
                <a16:creationId xmlns:a16="http://schemas.microsoft.com/office/drawing/2014/main" id="{4A613AAD-82C1-BDC8-2DE6-A08EBED029B5}"/>
              </a:ext>
            </a:extLst>
          </p:cNvPr>
          <p:cNvSpPr>
            <a:spLocks noGrp="1"/>
          </p:cNvSpPr>
          <p:nvPr>
            <p:ph type="title" idx="4294967295"/>
          </p:nvPr>
        </p:nvSpPr>
        <p:spPr>
          <a:xfrm>
            <a:off x="997846" y="690537"/>
            <a:ext cx="9168219" cy="57831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2800">
                <a:solidFill>
                  <a:srgbClr val="440099"/>
                </a:solidFill>
                <a:latin typeface="+mn-lt"/>
                <a:ea typeface="+mn-ea"/>
                <a:cs typeface="+mn-cs"/>
              </a:rPr>
              <a:t>2027-29 DEN Summer Concert Series</a:t>
            </a:r>
          </a:p>
        </p:txBody>
      </p:sp>
      <p:sp>
        <p:nvSpPr>
          <p:cNvPr id="3" name="TextBox 2">
            <a:extLst>
              <a:ext uri="{FF2B5EF4-FFF2-40B4-BE49-F238E27FC236}">
                <a16:creationId xmlns:a16="http://schemas.microsoft.com/office/drawing/2014/main" id="{382E8DDD-05C7-168B-9D55-290965101779}"/>
              </a:ext>
              <a:ext uri="{C183D7F6-B498-43B3-948B-1728B52AA6E4}">
                <adec:decorative xmlns:adec="http://schemas.microsoft.com/office/drawing/2017/decorative" val="1"/>
              </a:ext>
            </a:extLst>
          </p:cNvPr>
          <p:cNvSpPr txBox="1"/>
          <p:nvPr/>
        </p:nvSpPr>
        <p:spPr>
          <a:xfrm>
            <a:off x="997846" y="1375995"/>
            <a:ext cx="9070247" cy="3046988"/>
          </a:xfrm>
          <a:prstGeom prst="rect">
            <a:avLst/>
          </a:prstGeom>
          <a:noFill/>
        </p:spPr>
        <p:txBody>
          <a:bodyPr wrap="square" lIns="91440" tIns="45720" rIns="91440" bIns="45720" anchor="t">
            <a:spAutoFit/>
          </a:bodyPr>
          <a:lstStyle/>
          <a:p>
            <a:pPr defTabSz="914377"/>
            <a:r>
              <a:rPr lang="en-US" sz="1600" b="1">
                <a:solidFill>
                  <a:prstClr val="black"/>
                </a:solidFill>
                <a:latin typeface="Calibri" panose="020F0502020204030204"/>
              </a:rPr>
              <a:t>Key Scope:</a:t>
            </a:r>
          </a:p>
          <a:p>
            <a:pPr marL="285115" indent="-285115" defTabSz="914377">
              <a:buClr>
                <a:srgbClr val="E35B2A"/>
              </a:buClr>
              <a:buFont typeface="Arial" panose="020B0604020202020204" pitchFamily="34" charset="0"/>
              <a:buChar char="•"/>
            </a:pPr>
            <a:r>
              <a:rPr lang="en-US" sz="1600">
                <a:solidFill>
                  <a:prstClr val="black"/>
                </a:solidFill>
                <a:latin typeface="Calibri" panose="020F0502020204030204"/>
              </a:rPr>
              <a:t>Excellent face-to-face customer service skills</a:t>
            </a:r>
            <a:endParaRPr lang="en-US" sz="1600">
              <a:solidFill>
                <a:prstClr val="black"/>
              </a:solidFill>
              <a:latin typeface="Calibri" panose="020F0502020204030204"/>
              <a:ea typeface="Calibri" panose="020F0502020204030204"/>
              <a:cs typeface="Calibri" panose="020F0502020204030204"/>
            </a:endParaRPr>
          </a:p>
          <a:p>
            <a:pPr marL="285115" indent="-285115" defTabSz="914377">
              <a:buClr>
                <a:srgbClr val="E35B2A"/>
              </a:buClr>
              <a:buFont typeface="Arial" panose="020B0604020202020204" pitchFamily="34" charset="0"/>
              <a:buChar char="•"/>
            </a:pPr>
            <a:r>
              <a:rPr lang="en-US" sz="1600">
                <a:solidFill>
                  <a:prstClr val="black"/>
                </a:solidFill>
                <a:latin typeface="Calibri" panose="020F0502020204030204"/>
              </a:rPr>
              <a:t>Ability to multitask in a dynamic environment</a:t>
            </a:r>
            <a:endParaRPr lang="en-US" sz="1600">
              <a:solidFill>
                <a:prstClr val="black"/>
              </a:solidFill>
              <a:latin typeface="Calibri" panose="020F0502020204030204"/>
              <a:ea typeface="Calibri" panose="020F0502020204030204"/>
              <a:cs typeface="Calibri" panose="020F0502020204030204"/>
            </a:endParaRPr>
          </a:p>
          <a:p>
            <a:pPr marL="285115" indent="-285115" defTabSz="914377">
              <a:buClr>
                <a:srgbClr val="E35B2A"/>
              </a:buClr>
              <a:buFont typeface="Arial" panose="020B0604020202020204" pitchFamily="34" charset="0"/>
              <a:buChar char="•"/>
            </a:pPr>
            <a:r>
              <a:rPr lang="en-US" sz="1600">
                <a:solidFill>
                  <a:prstClr val="black"/>
                </a:solidFill>
                <a:latin typeface="Calibri" panose="020F0502020204030204"/>
              </a:rPr>
              <a:t>Line and queue management experience</a:t>
            </a:r>
            <a:endParaRPr lang="en-US" sz="1600">
              <a:solidFill>
                <a:prstClr val="black"/>
              </a:solidFill>
              <a:latin typeface="Calibri" panose="020F0502020204030204"/>
              <a:ea typeface="Calibri" panose="020F0502020204030204"/>
              <a:cs typeface="Calibri" panose="020F0502020204030204"/>
            </a:endParaRPr>
          </a:p>
          <a:p>
            <a:pPr marL="285115" indent="-285115" defTabSz="914377">
              <a:buClr>
                <a:srgbClr val="E35B2A"/>
              </a:buClr>
              <a:buFont typeface="Arial" panose="020B0604020202020204" pitchFamily="34" charset="0"/>
              <a:buChar char="•"/>
            </a:pPr>
            <a:r>
              <a:rPr lang="en-US" sz="1600">
                <a:solidFill>
                  <a:prstClr val="black"/>
                </a:solidFill>
                <a:latin typeface="Calibri" panose="020F0502020204030204"/>
              </a:rPr>
              <a:t>Strong teamwork and collaboration</a:t>
            </a:r>
            <a:endParaRPr lang="en-US" sz="1600">
              <a:solidFill>
                <a:prstClr val="black"/>
              </a:solidFill>
              <a:latin typeface="Calibri" panose="020F0502020204030204"/>
              <a:ea typeface="Calibri" panose="020F0502020204030204"/>
              <a:cs typeface="Calibri" panose="020F0502020204030204"/>
            </a:endParaRPr>
          </a:p>
          <a:p>
            <a:pPr marL="285115" indent="-285115" defTabSz="914377">
              <a:buClr>
                <a:srgbClr val="E35B2A"/>
              </a:buClr>
              <a:buFont typeface="Arial" panose="020B0604020202020204" pitchFamily="34" charset="0"/>
              <a:buChar char="•"/>
            </a:pPr>
            <a:r>
              <a:rPr lang="en-US" sz="1600">
                <a:solidFill>
                  <a:prstClr val="black"/>
                </a:solidFill>
                <a:latin typeface="Calibri" panose="020F0502020204030204"/>
              </a:rPr>
              <a:t>Clear and effective wayfinding assistance</a:t>
            </a:r>
            <a:endParaRPr lang="en-US" sz="1600">
              <a:solidFill>
                <a:prstClr val="black"/>
              </a:solidFill>
              <a:latin typeface="Calibri" panose="020F0502020204030204"/>
              <a:ea typeface="Calibri"/>
              <a:cs typeface="Calibri"/>
            </a:endParaRPr>
          </a:p>
          <a:p>
            <a:pPr defTabSz="914377"/>
            <a:br>
              <a:rPr lang="en-US" sz="1600" b="1">
                <a:latin typeface="Calibri" panose="020F0502020204030204"/>
              </a:rPr>
            </a:br>
            <a:r>
              <a:rPr lang="en-US" sz="1600" b="1">
                <a:solidFill>
                  <a:prstClr val="black">
                    <a:lumMod val="95000"/>
                    <a:lumOff val="5000"/>
                  </a:prstClr>
                </a:solidFill>
                <a:latin typeface="Calibri" panose="020F0502020204030204"/>
              </a:rPr>
              <a:t>KEY INFORMATION ​</a:t>
            </a:r>
            <a:endParaRPr lang="en-US" sz="1600" b="1">
              <a:solidFill>
                <a:prstClr val="black">
                  <a:lumMod val="95000"/>
                  <a:lumOff val="5000"/>
                </a:prstClr>
              </a:solidFill>
              <a:latin typeface="Calibri" panose="020F0502020204030204"/>
              <a:ea typeface="Calibri"/>
              <a:cs typeface="Calibri"/>
            </a:endParaRPr>
          </a:p>
          <a:p>
            <a:pPr defTabSz="914377">
              <a:defRPr/>
            </a:pPr>
            <a:r>
              <a:rPr lang="en-US" sz="1600" b="1">
                <a:solidFill>
                  <a:prstClr val="black">
                    <a:lumMod val="95000"/>
                    <a:lumOff val="5000"/>
                  </a:prstClr>
                </a:solidFill>
                <a:latin typeface="Calibri" panose="020F0502020204030204"/>
              </a:rPr>
              <a:t>Anticipated Advertisement Date: </a:t>
            </a:r>
            <a:r>
              <a:rPr lang="en-US" sz="1600">
                <a:solidFill>
                  <a:prstClr val="black">
                    <a:lumMod val="95000"/>
                    <a:lumOff val="5000"/>
                  </a:prstClr>
                </a:solidFill>
                <a:latin typeface="Calibri" panose="020F0502020204030204"/>
              </a:rPr>
              <a:t>Q2 2026</a:t>
            </a:r>
            <a:endParaRPr lang="en-US" sz="1600">
              <a:solidFill>
                <a:prstClr val="black">
                  <a:lumMod val="95000"/>
                  <a:lumOff val="5000"/>
                </a:prstClr>
              </a:solidFill>
              <a:latin typeface="Calibri" panose="020F0502020204030204"/>
              <a:ea typeface="Calibri"/>
              <a:cs typeface="Calibri"/>
            </a:endParaRPr>
          </a:p>
          <a:p>
            <a:pPr defTabSz="914377">
              <a:defRPr/>
            </a:pPr>
            <a:r>
              <a:rPr lang="en-US" sz="1600" b="1">
                <a:solidFill>
                  <a:prstClr val="black">
                    <a:lumMod val="95000"/>
                    <a:lumOff val="5000"/>
                  </a:prstClr>
                </a:solidFill>
                <a:latin typeface="Calibri" panose="020F0502020204030204"/>
              </a:rPr>
              <a:t>Estimated Project Value: </a:t>
            </a:r>
            <a:r>
              <a:rPr lang="en-US" sz="1600">
                <a:solidFill>
                  <a:prstClr val="black">
                    <a:lumMod val="95000"/>
                    <a:lumOff val="5000"/>
                  </a:prstClr>
                </a:solidFill>
                <a:latin typeface="Calibri" panose="020F0502020204030204"/>
              </a:rPr>
              <a:t> </a:t>
            </a:r>
            <a:r>
              <a:rPr lang="en-US" sz="1600">
                <a:solidFill>
                  <a:prstClr val="black">
                    <a:lumMod val="95000"/>
                    <a:lumOff val="5000"/>
                  </a:prstClr>
                </a:solidFill>
              </a:rPr>
              <a:t>$500K to $1.99M</a:t>
            </a:r>
            <a:endParaRPr lang="en-US" sz="1600">
              <a:solidFill>
                <a:prstClr val="black">
                  <a:lumMod val="95000"/>
                  <a:lumOff val="5000"/>
                </a:prstClr>
              </a:solidFill>
              <a:ea typeface="Calibri"/>
              <a:cs typeface="Calibri"/>
            </a:endParaRPr>
          </a:p>
          <a:p>
            <a:pPr defTabSz="914377">
              <a:defRPr/>
            </a:pPr>
            <a:r>
              <a:rPr lang="en-US" sz="1600" b="1">
                <a:solidFill>
                  <a:prstClr val="black">
                    <a:lumMod val="95000"/>
                    <a:lumOff val="5000"/>
                  </a:prstClr>
                </a:solidFill>
                <a:latin typeface="Calibri" panose="020F0502020204030204"/>
              </a:rPr>
              <a:t>Small Business Program Goal:  </a:t>
            </a:r>
            <a:r>
              <a:rPr lang="en-US" sz="1600">
                <a:solidFill>
                  <a:prstClr val="black">
                    <a:lumMod val="95000"/>
                    <a:lumOff val="5000"/>
                  </a:prstClr>
                </a:solidFill>
                <a:latin typeface="Calibri" panose="020F0502020204030204"/>
              </a:rPr>
              <a:t>No Program</a:t>
            </a:r>
            <a:endParaRPr lang="en-US" sz="1600" b="1">
              <a:solidFill>
                <a:prstClr val="black">
                  <a:lumMod val="95000"/>
                  <a:lumOff val="5000"/>
                </a:prstClr>
              </a:solidFill>
              <a:latin typeface="Calibri" panose="020F0502020204030204"/>
            </a:endParaRPr>
          </a:p>
          <a:p>
            <a:pPr defTabSz="914377">
              <a:defRPr/>
            </a:pPr>
            <a:r>
              <a:rPr lang="en-US" sz="1600" b="1">
                <a:solidFill>
                  <a:prstClr val="black">
                    <a:lumMod val="95000"/>
                    <a:lumOff val="5000"/>
                  </a:prstClr>
                </a:solidFill>
                <a:latin typeface="Calibri" panose="020F0502020204030204"/>
              </a:rPr>
              <a:t>Project Manager​: </a:t>
            </a:r>
            <a:r>
              <a:rPr lang="en-US" sz="1600">
                <a:solidFill>
                  <a:prstClr val="black">
                    <a:lumMod val="95000"/>
                    <a:lumOff val="5000"/>
                  </a:prstClr>
                </a:solidFill>
                <a:latin typeface="Calibri" panose="020F0502020204030204"/>
              </a:rPr>
              <a:t> Valeria Rodriguez | </a:t>
            </a:r>
            <a:r>
              <a:rPr lang="en-US" sz="1600">
                <a:solidFill>
                  <a:prstClr val="black"/>
                </a:solidFill>
                <a:latin typeface="Calibri" panose="020F0502020204030204"/>
                <a:cs typeface="Calibri"/>
                <a:hlinkClick r:id="rId3">
                  <a:extLst>
                    <a:ext uri="{A12FA001-AC4F-418D-AE19-62706E023703}">
                      <ahyp:hlinkClr xmlns:ahyp="http://schemas.microsoft.com/office/drawing/2018/hyperlinkcolor" val="tx"/>
                    </a:ext>
                  </a:extLst>
                </a:hlinkClick>
              </a:rPr>
              <a:t>valeria.rodriguez@flydenver.com</a:t>
            </a:r>
            <a:r>
              <a:rPr lang="en-US" sz="1600">
                <a:solidFill>
                  <a:prstClr val="black"/>
                </a:solidFill>
                <a:latin typeface="Calibri" panose="020F0502020204030204"/>
                <a:cs typeface="Calibri"/>
              </a:rPr>
              <a:t> </a:t>
            </a:r>
          </a:p>
        </p:txBody>
      </p:sp>
    </p:spTree>
    <p:extLst>
      <p:ext uri="{BB962C8B-B14F-4D97-AF65-F5344CB8AC3E}">
        <p14:creationId xmlns:p14="http://schemas.microsoft.com/office/powerpoint/2010/main" val="660502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48EA6C-2998-C87F-C11A-7BB267534BC2}"/>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E9D3AA62-0F1A-0B3A-384A-39BDD98E95A7}"/>
              </a:ext>
            </a:extLst>
          </p:cNvPr>
          <p:cNvSpPr>
            <a:spLocks noGrp="1"/>
          </p:cNvSpPr>
          <p:nvPr>
            <p:ph type="title" idx="4294967295"/>
          </p:nvPr>
        </p:nvSpPr>
        <p:spPr>
          <a:xfrm>
            <a:off x="2359839" y="1040045"/>
            <a:ext cx="9527361" cy="195918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rPr>
              <a:t>Infrastructure Financing and Master Development Partners for Commercial Development Districts </a:t>
            </a:r>
            <a:br>
              <a:rPr lang="en-US" sz="3600">
                <a:solidFill>
                  <a:schemeClr val="bg1"/>
                </a:solidFill>
              </a:rPr>
            </a:br>
            <a:r>
              <a:rPr lang="en-US" sz="3600">
                <a:solidFill>
                  <a:schemeClr val="bg1"/>
                </a:solidFill>
                <a:ea typeface="Calibri Light"/>
                <a:cs typeface="Calibri Light"/>
              </a:rPr>
              <a:t> </a:t>
            </a:r>
            <a:endParaRPr lang="en-US" sz="3600" b="0" i="0" u="none" strike="noStrike" kern="1200" cap="none" spc="0" normalizeH="0" baseline="0" noProof="0">
              <a:ln>
                <a:noFill/>
              </a:ln>
              <a:solidFill>
                <a:schemeClr val="bg1"/>
              </a:solidFill>
              <a:effectLst/>
              <a:uLnTx/>
              <a:uFillTx/>
              <a:latin typeface="+mn-lt"/>
              <a:ea typeface="Calibri"/>
              <a:cs typeface="Calibri"/>
            </a:endParaRPr>
          </a:p>
        </p:txBody>
      </p:sp>
    </p:spTree>
    <p:extLst>
      <p:ext uri="{BB962C8B-B14F-4D97-AF65-F5344CB8AC3E}">
        <p14:creationId xmlns:p14="http://schemas.microsoft.com/office/powerpoint/2010/main" val="29248937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346155-89DD-F76C-2D97-558A9220991C}"/>
            </a:ext>
          </a:extLst>
        </p:cNvPr>
        <p:cNvGrpSpPr/>
        <p:nvPr/>
      </p:nvGrpSpPr>
      <p:grpSpPr>
        <a:xfrm>
          <a:off x="0" y="0"/>
          <a:ext cx="0" cy="0"/>
          <a:chOff x="0" y="0"/>
          <a:chExt cx="0" cy="0"/>
        </a:xfrm>
      </p:grpSpPr>
      <p:sp>
        <p:nvSpPr>
          <p:cNvPr id="16" name="Text Placeholder 15" descr="2025 Tunnel Switchgear Heaving Remediation&#10;Six switchgear rooms in the East and West cores of ACON, BCON, and CCON have experienced soil heaving, causing damage to both equipment and enclosures. Additionally, ACON East and West sub-cores face significant water intrusion, impacting switchgear performance.&#10;&#10;Replace damaged switchgear and enclosures.&#10;Install new switchgear on elevated steel platforms anchored to the basement foundation to prevent future heaving impact.&#10;Construct code-compliant enclosures with fire-rated walls, fire suppression, and HVAC.&#10;Remove and replace heaved soil and repair room structures.&#10;Implement water mitigation at ACON sub-cores.&#10;&#10;KEY INFORMATION &#10;Anticipated Advertisement Date:  Q3-Q4&#10;Estimated Project Value: $10M to $49.99M&#10;Small Business Program Goal: TBD&#10;Key Scope/Industry: Electrical, Concrete, Masonry, Earthwork, Civil Utilities, Mechanical, Electrical, Plumbing&#10;Project Manager: Mark Tabugadir| mark.tabugadir@flydenver.com&#10;">
            <a:extLst>
              <a:ext uri="{FF2B5EF4-FFF2-40B4-BE49-F238E27FC236}">
                <a16:creationId xmlns:a16="http://schemas.microsoft.com/office/drawing/2014/main" id="{E02F61DA-A8B9-A8A2-7AF3-7A831019AD49}"/>
              </a:ext>
            </a:extLst>
          </p:cNvPr>
          <p:cNvSpPr>
            <a:spLocks noGrp="1"/>
          </p:cNvSpPr>
          <p:nvPr>
            <p:ph type="title" idx="4294967295"/>
          </p:nvPr>
        </p:nvSpPr>
        <p:spPr>
          <a:xfrm>
            <a:off x="708533" y="190896"/>
            <a:ext cx="10392283"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en-US" sz="2800">
                <a:solidFill>
                  <a:srgbClr val="440099"/>
                </a:solidFill>
                <a:latin typeface="+mn-lt"/>
              </a:rPr>
              <a:t>Infrastructure Financing and Master Development Partners for Commercial Development Districts  </a:t>
            </a:r>
            <a:br>
              <a:rPr lang="en-US" sz="900">
                <a:solidFill>
                  <a:srgbClr val="323130"/>
                </a:solidFill>
                <a:highlight>
                  <a:srgbClr val="EDEBE9"/>
                </a:highlight>
                <a:latin typeface="Segoe UI"/>
                <a:ea typeface="Calibri Light"/>
                <a:cs typeface="Segoe UI"/>
              </a:rPr>
            </a:br>
            <a:endParaRPr lang="en-US" sz="900">
              <a:solidFill>
                <a:srgbClr val="323130"/>
              </a:solidFill>
              <a:highlight>
                <a:srgbClr val="EDEBE9"/>
              </a:highlight>
              <a:latin typeface="Segoe UI"/>
              <a:ea typeface="Calibri Light"/>
              <a:cs typeface="Segoe UI"/>
            </a:endParaRPr>
          </a:p>
          <a:p>
            <a:pPr>
              <a:spcBef>
                <a:spcPts val="1000"/>
              </a:spcBef>
              <a:defRPr/>
            </a:pPr>
            <a:endParaRPr lang="en-US" sz="2800">
              <a:solidFill>
                <a:srgbClr val="440099"/>
              </a:solidFill>
              <a:ea typeface="Calibri Light"/>
              <a:cs typeface="Calibri Light"/>
            </a:endParaRPr>
          </a:p>
        </p:txBody>
      </p:sp>
      <p:pic>
        <p:nvPicPr>
          <p:cNvPr id="4" name="Picture 3" descr="A map of a Denver Internationial Airport Land. It shows Non-Aeronautical Land in green and Cargo Expansion Opportunity in yellow. &#10;">
            <a:extLst>
              <a:ext uri="{FF2B5EF4-FFF2-40B4-BE49-F238E27FC236}">
                <a16:creationId xmlns:a16="http://schemas.microsoft.com/office/drawing/2014/main" id="{2F23DB43-D85E-D2D1-3CBB-07A327874C30}"/>
              </a:ext>
            </a:extLst>
          </p:cNvPr>
          <p:cNvPicPr>
            <a:picLocks noChangeAspect="1"/>
          </p:cNvPicPr>
          <p:nvPr/>
        </p:nvPicPr>
        <p:blipFill>
          <a:blip r:embed="rId3"/>
          <a:srcRect l="1452" t="138" r="4159"/>
          <a:stretch>
            <a:fillRect/>
          </a:stretch>
        </p:blipFill>
        <p:spPr>
          <a:xfrm>
            <a:off x="181534" y="1330377"/>
            <a:ext cx="5755341" cy="4509551"/>
          </a:xfrm>
          <a:prstGeom prst="rect">
            <a:avLst/>
          </a:prstGeom>
        </p:spPr>
      </p:pic>
      <p:sp>
        <p:nvSpPr>
          <p:cNvPr id="3" name="TextBox 2">
            <a:extLst>
              <a:ext uri="{FF2B5EF4-FFF2-40B4-BE49-F238E27FC236}">
                <a16:creationId xmlns:a16="http://schemas.microsoft.com/office/drawing/2014/main" id="{52609CF0-76DE-AD82-E86C-69F516B64733}"/>
              </a:ext>
              <a:ext uri="{C183D7F6-B498-43B3-948B-1728B52AA6E4}">
                <adec:decorative xmlns:adec="http://schemas.microsoft.com/office/drawing/2017/decorative" val="0"/>
              </a:ext>
            </a:extLst>
          </p:cNvPr>
          <p:cNvSpPr txBox="1"/>
          <p:nvPr/>
        </p:nvSpPr>
        <p:spPr>
          <a:xfrm>
            <a:off x="6096000" y="1061436"/>
            <a:ext cx="4735606" cy="5986254"/>
          </a:xfrm>
          <a:prstGeom prst="rect">
            <a:avLst/>
          </a:prstGeom>
          <a:noFill/>
        </p:spPr>
        <p:txBody>
          <a:bodyPr wrap="square" lIns="91440" tIns="45720" rIns="91440" bIns="45720" anchor="t">
            <a:spAutoFit/>
          </a:bodyPr>
          <a:lstStyle/>
          <a:p>
            <a:pPr marL="285750" indent="-285750">
              <a:spcAft>
                <a:spcPts val="600"/>
              </a:spcAft>
              <a:buClr>
                <a:srgbClr val="E35B2A"/>
              </a:buClr>
              <a:buFont typeface="Arial" panose="020B0604020202020204" pitchFamily="34" charset="0"/>
              <a:buChar char="•"/>
            </a:pPr>
            <a:r>
              <a:rPr lang="en-US" sz="1600">
                <a:ea typeface="+mn-lt"/>
                <a:cs typeface="Calibri"/>
              </a:rPr>
              <a:t>DEN owns the largest airport land portfolio in the United States with </a:t>
            </a:r>
            <a:r>
              <a:rPr lang="en-US" sz="1600" b="1">
                <a:ea typeface="+mn-lt"/>
                <a:cs typeface="Calibri"/>
              </a:rPr>
              <a:t>16,000 acres of non-aeronautical land</a:t>
            </a:r>
            <a:r>
              <a:rPr lang="en-US" sz="1600">
                <a:ea typeface="+mn-lt"/>
                <a:cs typeface="Calibri"/>
              </a:rPr>
              <a:t>, 1,500 acres of which are currently authorized for commercial development. </a:t>
            </a:r>
            <a:endParaRPr lang="en-US" sz="1600"/>
          </a:p>
          <a:p>
            <a:pPr marL="285750" indent="-285750">
              <a:spcAft>
                <a:spcPts val="600"/>
              </a:spcAft>
              <a:buClr>
                <a:srgbClr val="E35B2A"/>
              </a:buClr>
              <a:buFont typeface="Arial" panose="020B0604020202020204" pitchFamily="34" charset="0"/>
              <a:buChar char="•"/>
            </a:pPr>
            <a:r>
              <a:rPr lang="en-US" sz="1600">
                <a:ea typeface="+mn-lt"/>
                <a:cs typeface="Calibri"/>
              </a:rPr>
              <a:t>DEN is seeking to accelerate development of this land in alignment with its Strategic Development Plan. However, the districts are largely unimproved “raw land”, </a:t>
            </a:r>
            <a:r>
              <a:rPr lang="en-US" sz="1600" b="1">
                <a:ea typeface="+mn-lt"/>
                <a:cs typeface="Calibri"/>
              </a:rPr>
              <a:t>requiring significant enabling infrastructure investment </a:t>
            </a:r>
            <a:r>
              <a:rPr lang="en-US" sz="1600">
                <a:ea typeface="+mn-lt"/>
                <a:cs typeface="Calibri"/>
              </a:rPr>
              <a:t>to unlock their value. </a:t>
            </a:r>
            <a:endParaRPr lang="en-US" sz="1600">
              <a:ea typeface="Calibri"/>
              <a:cs typeface="Calibri"/>
            </a:endParaRPr>
          </a:p>
          <a:p>
            <a:pPr marL="285750" indent="-285750">
              <a:spcAft>
                <a:spcPts val="600"/>
              </a:spcAft>
              <a:buClr>
                <a:srgbClr val="E35B2A"/>
              </a:buClr>
              <a:buFont typeface="Arial" panose="020B0604020202020204" pitchFamily="34" charset="0"/>
              <a:buChar char="•"/>
            </a:pPr>
            <a:r>
              <a:rPr lang="en-US" sz="1600">
                <a:ea typeface="+mn-lt"/>
                <a:cs typeface="Calibri"/>
              </a:rPr>
              <a:t>DEN is soliciting Statements of Qualifications from </a:t>
            </a:r>
            <a:r>
              <a:rPr lang="en-US" sz="1600" b="1">
                <a:ea typeface="+mn-lt"/>
                <a:cs typeface="Calibri"/>
              </a:rPr>
              <a:t>qualified infrastructure financing and master development partners</a:t>
            </a:r>
            <a:r>
              <a:rPr lang="en-US" sz="1600">
                <a:ea typeface="+mn-lt"/>
                <a:cs typeface="Calibri"/>
              </a:rPr>
              <a:t> to deliver a phased development program across priority commercial development districts. </a:t>
            </a:r>
            <a:endParaRPr lang="en-US" sz="1600">
              <a:ea typeface="Calibri"/>
              <a:cs typeface="Calibri"/>
            </a:endParaRPr>
          </a:p>
          <a:p>
            <a:pPr marL="285750" indent="-285750">
              <a:buClr>
                <a:srgbClr val="E35B2A"/>
              </a:buClr>
              <a:buFont typeface="Arial" panose="020B0604020202020204" pitchFamily="34" charset="0"/>
              <a:buChar char="•"/>
            </a:pPr>
            <a:r>
              <a:rPr lang="en-US" sz="1600">
                <a:ea typeface="+mn-lt"/>
                <a:cs typeface="Calibri"/>
              </a:rPr>
              <a:t>The selected Firm(s) will work collaboratively with DEN to </a:t>
            </a:r>
            <a:r>
              <a:rPr lang="en-US" sz="1600" b="1">
                <a:ea typeface="+mn-lt"/>
                <a:cs typeface="Calibri"/>
              </a:rPr>
              <a:t>plan, finance, and deliver horizontal infrastructure and/or vertical development</a:t>
            </a:r>
            <a:r>
              <a:rPr lang="en-US" sz="1600">
                <a:ea typeface="+mn-lt"/>
                <a:cs typeface="Calibri"/>
              </a:rPr>
              <a:t>, leveraging private capital to accelerate development while preserving DEN’s long-term control and financial upside and adhering to applicable regulatory requirements. </a:t>
            </a:r>
            <a:endParaRPr lang="en-US" sz="1600">
              <a:ea typeface="Calibri"/>
              <a:cs typeface="Calibri"/>
            </a:endParaRPr>
          </a:p>
          <a:p>
            <a:br>
              <a:rPr lang="en-US" sz="1600" b="1" i="0" u="none" strike="noStrike" kern="1200" cap="none" spc="0" normalizeH="0" baseline="0" noProof="0">
                <a:ln>
                  <a:noFill/>
                </a:ln>
                <a:effectLst/>
                <a:uLnTx/>
                <a:uFillTx/>
                <a:ea typeface="+mn-lt"/>
                <a:cs typeface="Calibri"/>
              </a:rPr>
            </a:br>
            <a:endParaRPr lang="en-US" sz="1600" b="1">
              <a:solidFill>
                <a:prstClr val="black"/>
              </a:solidFill>
              <a:ea typeface="Calibri"/>
              <a:cs typeface="Calibri"/>
            </a:endParaRPr>
          </a:p>
        </p:txBody>
      </p:sp>
    </p:spTree>
    <p:extLst>
      <p:ext uri="{BB962C8B-B14F-4D97-AF65-F5344CB8AC3E}">
        <p14:creationId xmlns:p14="http://schemas.microsoft.com/office/powerpoint/2010/main" val="40501197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0B16DA-C16F-59F9-4ED4-D69C6E3F1A90}"/>
            </a:ext>
          </a:extLst>
        </p:cNvPr>
        <p:cNvGrpSpPr/>
        <p:nvPr/>
      </p:nvGrpSpPr>
      <p:grpSpPr>
        <a:xfrm>
          <a:off x="0" y="0"/>
          <a:ext cx="0" cy="0"/>
          <a:chOff x="0" y="0"/>
          <a:chExt cx="0" cy="0"/>
        </a:xfrm>
      </p:grpSpPr>
      <p:sp>
        <p:nvSpPr>
          <p:cNvPr id="16" name="Text Placeholder 15" descr="2025 Tunnel Switchgear Heaving Remediation&#10;Six switchgear rooms in the East and West cores of ACON, BCON, and CCON have experienced soil heaving, causing damage to both equipment and enclosures. Additionally, ACON East and West sub-cores face significant water intrusion, impacting switchgear performance.&#10;&#10;Replace damaged switchgear and enclosures.&#10;Install new switchgear on elevated steel platforms anchored to the basement foundation to prevent future heaving impact.&#10;Construct code-compliant enclosures with fire-rated walls, fire suppression, and HVAC.&#10;Remove and replace heaved soil and repair room structures.&#10;Implement water mitigation at ACON sub-cores.&#10;&#10;KEY INFORMATION &#10;Anticipated Advertisement Date:  Q3-Q4&#10;Estimated Project Value: $10M to $49.99M&#10;Small Business Program Goal: TBD&#10;Key Scope/Industry: Electrical, Concrete, Masonry, Earthwork, Civil Utilities, Mechanical, Electrical, Plumbing&#10;Project Manager: Mark Tabugadir| mark.tabugadir@flydenver.com&#10;">
            <a:extLst>
              <a:ext uri="{FF2B5EF4-FFF2-40B4-BE49-F238E27FC236}">
                <a16:creationId xmlns:a16="http://schemas.microsoft.com/office/drawing/2014/main" id="{372D0F8A-EE91-CD8C-B83D-AC6C7852B353}"/>
              </a:ext>
            </a:extLst>
          </p:cNvPr>
          <p:cNvSpPr>
            <a:spLocks noGrp="1"/>
          </p:cNvSpPr>
          <p:nvPr>
            <p:ph type="title" idx="4294967295"/>
          </p:nvPr>
        </p:nvSpPr>
        <p:spPr>
          <a:xfrm>
            <a:off x="708533" y="190896"/>
            <a:ext cx="10392283"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en-US" sz="2800">
                <a:solidFill>
                  <a:srgbClr val="440099"/>
                </a:solidFill>
                <a:latin typeface="+mn-lt"/>
              </a:rPr>
              <a:t>Infrastructure Financing and Master Development Partners for Commercial Development Districts Cont.  </a:t>
            </a:r>
            <a:br>
              <a:rPr lang="en-US" sz="900">
                <a:solidFill>
                  <a:srgbClr val="323130"/>
                </a:solidFill>
                <a:highlight>
                  <a:srgbClr val="EDEBE9"/>
                </a:highlight>
                <a:latin typeface="Segoe UI"/>
                <a:ea typeface="Calibri Light"/>
                <a:cs typeface="Segoe UI"/>
              </a:rPr>
            </a:br>
            <a:endParaRPr lang="en-US" sz="900">
              <a:solidFill>
                <a:srgbClr val="323130"/>
              </a:solidFill>
              <a:highlight>
                <a:srgbClr val="EDEBE9"/>
              </a:highlight>
              <a:latin typeface="Segoe UI"/>
              <a:ea typeface="Calibri Light"/>
              <a:cs typeface="Segoe UI"/>
            </a:endParaRPr>
          </a:p>
          <a:p>
            <a:pPr>
              <a:spcBef>
                <a:spcPts val="1000"/>
              </a:spcBef>
              <a:defRPr/>
            </a:pPr>
            <a:endParaRPr lang="en-US" sz="2800">
              <a:solidFill>
                <a:srgbClr val="440099"/>
              </a:solidFill>
              <a:ea typeface="Calibri Light"/>
              <a:cs typeface="Calibri Light"/>
            </a:endParaRPr>
          </a:p>
        </p:txBody>
      </p:sp>
      <p:pic>
        <p:nvPicPr>
          <p:cNvPr id="5" name="Picture 4" descr="Map showing development areas and commuter rail stations around Denver Airport (DEN). Key zones include Aero-Industrial (825+ acres), 72nd &amp; Himalaya (250 acres), West Approach (120 acres), Second Creek Campus (375+ acres), East Approach (80 acres), Peña Station Next (34 acres), and 40th &amp; Airport (50 acres), with rail stations marked by red icons and a legend identifying commuter rail stations.&#10;&#10;">
            <a:extLst>
              <a:ext uri="{FF2B5EF4-FFF2-40B4-BE49-F238E27FC236}">
                <a16:creationId xmlns:a16="http://schemas.microsoft.com/office/drawing/2014/main" id="{2C9B55C7-098B-D5D2-F5AE-D8F8D33BBF75}"/>
              </a:ext>
            </a:extLst>
          </p:cNvPr>
          <p:cNvPicPr>
            <a:picLocks noChangeAspect="1"/>
          </p:cNvPicPr>
          <p:nvPr/>
        </p:nvPicPr>
        <p:blipFill>
          <a:blip r:embed="rId3"/>
          <a:stretch>
            <a:fillRect/>
          </a:stretch>
        </p:blipFill>
        <p:spPr>
          <a:xfrm>
            <a:off x="86344" y="1268556"/>
            <a:ext cx="4959605" cy="5302523"/>
          </a:xfrm>
          <a:prstGeom prst="rect">
            <a:avLst/>
          </a:prstGeom>
        </p:spPr>
      </p:pic>
      <p:sp>
        <p:nvSpPr>
          <p:cNvPr id="3" name="TextBox 2">
            <a:extLst>
              <a:ext uri="{FF2B5EF4-FFF2-40B4-BE49-F238E27FC236}">
                <a16:creationId xmlns:a16="http://schemas.microsoft.com/office/drawing/2014/main" id="{8196C269-676F-DFB0-D9D4-0F5CCB6E0F51}"/>
              </a:ext>
              <a:ext uri="{C183D7F6-B498-43B3-948B-1728B52AA6E4}">
                <adec:decorative xmlns:adec="http://schemas.microsoft.com/office/drawing/2017/decorative" val="0"/>
              </a:ext>
            </a:extLst>
          </p:cNvPr>
          <p:cNvSpPr txBox="1"/>
          <p:nvPr/>
        </p:nvSpPr>
        <p:spPr>
          <a:xfrm>
            <a:off x="5190564" y="1837719"/>
            <a:ext cx="6696635" cy="3046988"/>
          </a:xfrm>
          <a:prstGeom prst="rect">
            <a:avLst/>
          </a:prstGeom>
          <a:noFill/>
        </p:spPr>
        <p:txBody>
          <a:bodyPr wrap="square" lIns="91440" tIns="45720" rIns="91440" bIns="45720" anchor="t">
            <a:spAutoFit/>
          </a:bodyPr>
          <a:lstStyle/>
          <a:p>
            <a:endParaRPr lang="en-US" sz="1600">
              <a:ea typeface="+mn-lt"/>
              <a:cs typeface="Calibri"/>
            </a:endParaRPr>
          </a:p>
          <a:p>
            <a:r>
              <a:rPr kumimoji="0" lang="en-US" sz="1600" b="1" i="0" u="none" strike="noStrike" kern="1200" cap="none" spc="0" normalizeH="0" baseline="0" noProof="0">
                <a:ln>
                  <a:noFill/>
                </a:ln>
                <a:solidFill>
                  <a:prstClr val="black"/>
                </a:solidFill>
                <a:effectLst/>
                <a:uLnTx/>
                <a:uFillTx/>
                <a:ea typeface="+mn-ea"/>
                <a:cs typeface="Calibri"/>
              </a:rPr>
              <a:t>KEY INFORMATION </a:t>
            </a:r>
            <a:endParaRPr lang="en-US" sz="1600" b="1" i="0" u="none" strike="noStrike" kern="1200" cap="none" spc="0" normalizeH="0" baseline="0" noProof="0">
              <a:ln>
                <a:noFill/>
              </a:ln>
              <a:solidFill>
                <a:prstClr val="black"/>
              </a:solidFill>
              <a:effectLst/>
              <a:uLnTx/>
              <a:uFillTx/>
              <a:ea typeface="Calibri"/>
              <a:cs typeface="Calibri"/>
            </a:endParaRPr>
          </a:p>
          <a:p>
            <a:pPr>
              <a:defRPr/>
            </a:pPr>
            <a:r>
              <a:rPr kumimoji="0" lang="en-US" sz="1600" b="1" i="0" u="none" strike="noStrike" kern="1200" cap="none" spc="0" normalizeH="0" baseline="0" noProof="0">
                <a:ln>
                  <a:noFill/>
                </a:ln>
                <a:effectLst/>
                <a:uLnTx/>
                <a:uFillTx/>
                <a:ea typeface="+mn-ea"/>
                <a:cs typeface="Calibri"/>
              </a:rPr>
              <a:t>Anticipated Advertisement Date: </a:t>
            </a:r>
            <a:r>
              <a:rPr lang="en-US" sz="1600">
                <a:cs typeface="Calibri"/>
              </a:rPr>
              <a:t>Q3 2026</a:t>
            </a:r>
            <a:endParaRPr lang="en-US" sz="1600">
              <a:solidFill>
                <a:prstClr val="black"/>
              </a:solidFill>
              <a:ea typeface="+mn-lt"/>
              <a:cs typeface="+mn-lt"/>
            </a:endParaRPr>
          </a:p>
          <a:p>
            <a:pPr>
              <a:defRPr/>
            </a:pPr>
            <a:r>
              <a:rPr lang="en-US" sz="1600" b="1">
                <a:solidFill>
                  <a:prstClr val="black"/>
                </a:solidFill>
                <a:cs typeface="Calibri"/>
              </a:rPr>
              <a:t>Estimated Project Value: </a:t>
            </a:r>
            <a:r>
              <a:rPr lang="en-US" sz="1600">
                <a:solidFill>
                  <a:prstClr val="black"/>
                </a:solidFill>
                <a:cs typeface="Calibri"/>
              </a:rPr>
              <a:t>$100M+</a:t>
            </a:r>
            <a:endParaRPr lang="en-US" sz="1600">
              <a:ea typeface="+mn-lt"/>
              <a:cs typeface="+mn-lt"/>
            </a:endParaRPr>
          </a:p>
          <a:p>
            <a:pPr>
              <a:defRPr/>
            </a:pPr>
            <a:r>
              <a:rPr lang="en-US" sz="1600" b="1">
                <a:ea typeface="+mn-lt"/>
                <a:cs typeface="+mn-lt"/>
              </a:rPr>
              <a:t>Small Business Program Goal: </a:t>
            </a:r>
            <a:r>
              <a:rPr lang="en-US" sz="1600">
                <a:ea typeface="+mn-lt"/>
                <a:cs typeface="+mn-lt"/>
              </a:rPr>
              <a:t>No Program</a:t>
            </a:r>
            <a:br>
              <a:rPr lang="en-US" sz="1600" b="1">
                <a:ea typeface="+mn-lt"/>
                <a:cs typeface="+mn-lt"/>
              </a:rPr>
            </a:br>
            <a:endParaRPr lang="en-US" sz="1600" b="1">
              <a:ea typeface="+mn-lt"/>
              <a:cs typeface="+mn-lt"/>
            </a:endParaRPr>
          </a:p>
          <a:p>
            <a:pPr>
              <a:defRPr/>
            </a:pPr>
            <a:r>
              <a:rPr lang="en-US" sz="1600" b="1">
                <a:solidFill>
                  <a:prstClr val="black"/>
                </a:solidFill>
                <a:ea typeface="+mn-lt"/>
                <a:cs typeface="+mn-lt"/>
              </a:rPr>
              <a:t>Key Scope/Industry: </a:t>
            </a:r>
            <a:endParaRPr lang="en-US" sz="1600" b="1">
              <a:solidFill>
                <a:prstClr val="black"/>
              </a:solidFill>
              <a:ea typeface="+mn-lt"/>
              <a:cs typeface="Calibri"/>
            </a:endParaRPr>
          </a:p>
          <a:p>
            <a:pPr marL="285750" indent="-285750">
              <a:buClr>
                <a:schemeClr val="accent2"/>
              </a:buClr>
              <a:buFont typeface="Arial" panose="020B0604020202020204" pitchFamily="34" charset="0"/>
              <a:buChar char="•"/>
              <a:defRPr/>
            </a:pPr>
            <a:r>
              <a:rPr lang="en-US" sz="1600">
                <a:solidFill>
                  <a:prstClr val="black"/>
                </a:solidFill>
                <a:ea typeface="+mn-lt"/>
                <a:cs typeface="Calibri"/>
              </a:rPr>
              <a:t>Infrastructure-led financing and development, large-scale master-planned development, public-private partnerships, tenanting and asset management</a:t>
            </a:r>
            <a:endParaRPr lang="en-US">
              <a:solidFill>
                <a:prstClr val="black"/>
              </a:solidFill>
              <a:ea typeface="Calibri" panose="020F0502020204030204"/>
              <a:cs typeface="Calibri" panose="020F0502020204030204"/>
            </a:endParaRPr>
          </a:p>
          <a:p>
            <a:pPr marL="285750" indent="-285750">
              <a:buClr>
                <a:srgbClr val="E35B2A"/>
              </a:buClr>
              <a:buFont typeface="Arial"/>
              <a:buChar char="•"/>
              <a:defRPr/>
            </a:pPr>
            <a:endParaRPr kumimoji="0" lang="en-US" sz="1600" i="0" u="none" strike="noStrike" kern="1200" cap="none" spc="0" normalizeH="0" baseline="0" noProof="0">
              <a:ln>
                <a:noFill/>
              </a:ln>
              <a:solidFill>
                <a:prstClr val="black"/>
              </a:solidFill>
              <a:effectLst/>
              <a:uLnTx/>
              <a:uFillTx/>
              <a:ea typeface="+mn-lt"/>
              <a:cs typeface="Calibri"/>
            </a:endParaRPr>
          </a:p>
          <a:p>
            <a:pPr>
              <a:buClr>
                <a:srgbClr val="E35B2A"/>
              </a:buClr>
              <a:defRPr/>
            </a:pPr>
            <a:r>
              <a:rPr kumimoji="0" lang="en-US" sz="1600" b="1" i="0" u="none" strike="noStrike" kern="1200" cap="none" spc="0" normalizeH="0" baseline="0" noProof="0">
                <a:ln>
                  <a:noFill/>
                </a:ln>
                <a:effectLst/>
                <a:uLnTx/>
                <a:uFillTx/>
                <a:ea typeface="+mn-ea"/>
                <a:cs typeface="Calibri"/>
              </a:rPr>
              <a:t>Project Manager: </a:t>
            </a:r>
            <a:r>
              <a:rPr lang="en-US" sz="1600">
                <a:cs typeface="Calibri"/>
              </a:rPr>
              <a:t>Madison Schliewe| </a:t>
            </a:r>
            <a:r>
              <a:rPr lang="en-US" sz="1600">
                <a:cs typeface="Calibri"/>
                <a:hlinkClick r:id="rId4"/>
              </a:rPr>
              <a:t>madison.schliewe@flydenver.com</a:t>
            </a:r>
            <a:r>
              <a:rPr lang="en-US" sz="1600">
                <a:cs typeface="Calibri"/>
              </a:rPr>
              <a:t> </a:t>
            </a:r>
            <a:endParaRPr lang="en-US" sz="1600">
              <a:solidFill>
                <a:srgbClr val="0070C0"/>
              </a:solidFill>
              <a:ea typeface="Calibri"/>
              <a:cs typeface="Calibri"/>
              <a:hlinkClick r:id="" action="ppaction://noaction">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17305959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6F50E-B88E-6F3F-3F47-709F331A6847}"/>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012B9D98-57AA-4C61-F58E-6E360845D3FA}"/>
              </a:ext>
            </a:extLst>
          </p:cNvPr>
          <p:cNvSpPr>
            <a:spLocks noGrp="1"/>
          </p:cNvSpPr>
          <p:nvPr>
            <p:ph type="title" idx="4294967295"/>
          </p:nvPr>
        </p:nvSpPr>
        <p:spPr>
          <a:xfrm>
            <a:off x="2359839" y="1040045"/>
            <a:ext cx="9527361" cy="1189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latin typeface="Calibri Light"/>
                <a:ea typeface="Calibri Light"/>
                <a:cs typeface="Calibri Light"/>
              </a:rPr>
              <a:t>Clean Technology Campus Market Study</a:t>
            </a:r>
            <a:br>
              <a:rPr lang="en-US" sz="3600" b="0" i="0" u="none" strike="noStrike" kern="1200" cap="none" spc="0" normalizeH="0" baseline="0" noProof="0">
                <a:ln>
                  <a:noFill/>
                </a:ln>
                <a:effectLst/>
                <a:uLnTx/>
                <a:uFillTx/>
                <a:latin typeface="Calibri Light"/>
                <a:ea typeface="Calibri Light"/>
                <a:cs typeface="Calibri Light"/>
              </a:rPr>
            </a:br>
            <a:r>
              <a:rPr lang="en-US" sz="3600" b="0" i="0" u="none" strike="noStrike" kern="1200" cap="none" spc="0" normalizeH="0" baseline="0" noProof="0">
                <a:ln>
                  <a:noFill/>
                </a:ln>
                <a:solidFill>
                  <a:schemeClr val="bg1"/>
                </a:solidFill>
                <a:effectLst/>
                <a:uLnTx/>
                <a:uFillTx/>
                <a:latin typeface="Calibri Light"/>
                <a:ea typeface="Calibri Light"/>
                <a:cs typeface="Calibri Light"/>
              </a:rPr>
              <a:t> </a:t>
            </a:r>
            <a:endParaRPr lang="en-US" sz="3600" b="0" i="0" u="none" strike="noStrike" kern="1200" cap="none" spc="0" normalizeH="0" baseline="0" noProof="0">
              <a:ln>
                <a:noFill/>
              </a:ln>
              <a:solidFill>
                <a:schemeClr val="bg1"/>
              </a:solidFill>
              <a:effectLst/>
              <a:uLnTx/>
              <a:uFillTx/>
              <a:latin typeface="Calibri Light"/>
              <a:ea typeface="Calibri"/>
              <a:cs typeface="Calibri"/>
            </a:endParaRPr>
          </a:p>
        </p:txBody>
      </p:sp>
    </p:spTree>
    <p:extLst>
      <p:ext uri="{BB962C8B-B14F-4D97-AF65-F5344CB8AC3E}">
        <p14:creationId xmlns:p14="http://schemas.microsoft.com/office/powerpoint/2010/main" val="8535341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A3920B-25B8-DB88-38DD-E0AC183897FF}"/>
            </a:ext>
          </a:extLst>
        </p:cNvPr>
        <p:cNvGrpSpPr/>
        <p:nvPr/>
      </p:nvGrpSpPr>
      <p:grpSpPr>
        <a:xfrm>
          <a:off x="0" y="0"/>
          <a:ext cx="0" cy="0"/>
          <a:chOff x="0" y="0"/>
          <a:chExt cx="0" cy="0"/>
        </a:xfrm>
      </p:grpSpPr>
      <p:sp>
        <p:nvSpPr>
          <p:cNvPr id="16" name="Text Placeholder 15" descr="2025 Tunnel Switchgear Heaving Remediation&#10;Six switchgear rooms in the East and West cores of ACON, BCON, and CCON have experienced soil heaving, causing damage to both equipment and enclosures. Additionally, ACON East and West sub-cores face significant water intrusion, impacting switchgear performance.&#10;&#10;Replace damaged switchgear and enclosures.&#10;Install new switchgear on elevated steel platforms anchored to the basement foundation to prevent future heaving impact.&#10;Construct code-compliant enclosures with fire-rated walls, fire suppression, and HVAC.&#10;Remove and replace heaved soil and repair room structures.&#10;Implement water mitigation at ACON sub-cores.&#10;&#10;KEY INFORMATION &#10;Anticipated Advertisement Date:  Q3-Q4&#10;Estimated Project Value: $10M to $49.99M&#10;Small Business Program Goal: TBD&#10;Key Scope/Industry: Electrical, Concrete, Masonry, Earthwork, Civil Utilities, Mechanical, Electrical, Plumbing&#10;Project Manager: Mark Tabugadir| mark.tabugadir@flydenver.com&#10;">
            <a:extLst>
              <a:ext uri="{FF2B5EF4-FFF2-40B4-BE49-F238E27FC236}">
                <a16:creationId xmlns:a16="http://schemas.microsoft.com/office/drawing/2014/main" id="{9CFBDCDF-55EE-4F84-31AC-B66C8FA4D316}"/>
              </a:ext>
            </a:extLst>
          </p:cNvPr>
          <p:cNvSpPr>
            <a:spLocks noGrp="1"/>
          </p:cNvSpPr>
          <p:nvPr>
            <p:ph type="title" idx="4294967295"/>
          </p:nvPr>
        </p:nvSpPr>
        <p:spPr>
          <a:xfrm>
            <a:off x="708533" y="593232"/>
            <a:ext cx="11066462"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en-US" sz="2800">
                <a:solidFill>
                  <a:srgbClr val="440099"/>
                </a:solidFill>
                <a:latin typeface="+mn-lt"/>
              </a:rPr>
              <a:t>Clean Technology Campus Market Study</a:t>
            </a:r>
            <a:br>
              <a:rPr lang="en-US" sz="2800">
                <a:solidFill>
                  <a:srgbClr val="440099"/>
                </a:solidFill>
                <a:highlight>
                  <a:srgbClr val="EDEBE9"/>
                </a:highlight>
                <a:latin typeface="+mn-lt"/>
                <a:ea typeface="Calibri Light"/>
                <a:cs typeface="Segoe UI"/>
              </a:rPr>
            </a:br>
            <a:endParaRPr lang="en-US" sz="2800">
              <a:solidFill>
                <a:srgbClr val="440099"/>
              </a:solidFill>
              <a:highlight>
                <a:srgbClr val="EDEBE9"/>
              </a:highlight>
              <a:latin typeface="+mn-lt"/>
              <a:ea typeface="Calibri Light"/>
              <a:cs typeface="Segoe UI"/>
            </a:endParaRPr>
          </a:p>
          <a:p>
            <a:pPr>
              <a:spcBef>
                <a:spcPts val="1000"/>
              </a:spcBef>
              <a:defRPr/>
            </a:pPr>
            <a:endParaRPr lang="en-US" sz="2800">
              <a:solidFill>
                <a:srgbClr val="440099"/>
              </a:solidFill>
              <a:latin typeface="+mn-lt"/>
              <a:ea typeface="Calibri Light"/>
              <a:cs typeface="Calibri Light"/>
            </a:endParaRPr>
          </a:p>
        </p:txBody>
      </p:sp>
      <p:sp>
        <p:nvSpPr>
          <p:cNvPr id="3" name="TextBox 2">
            <a:extLst>
              <a:ext uri="{FF2B5EF4-FFF2-40B4-BE49-F238E27FC236}">
                <a16:creationId xmlns:a16="http://schemas.microsoft.com/office/drawing/2014/main" id="{A60D489F-BBAB-A646-75EB-D967D3421E2D}"/>
              </a:ext>
              <a:ext uri="{C183D7F6-B498-43B3-948B-1728B52AA6E4}">
                <adec:decorative xmlns:adec="http://schemas.microsoft.com/office/drawing/2017/decorative" val="0"/>
              </a:ext>
            </a:extLst>
          </p:cNvPr>
          <p:cNvSpPr txBox="1"/>
          <p:nvPr/>
        </p:nvSpPr>
        <p:spPr>
          <a:xfrm>
            <a:off x="708533" y="1331801"/>
            <a:ext cx="10236507" cy="3539430"/>
          </a:xfrm>
          <a:prstGeom prst="rect">
            <a:avLst/>
          </a:prstGeom>
          <a:noFill/>
        </p:spPr>
        <p:txBody>
          <a:bodyPr wrap="square" lIns="91440" tIns="45720" rIns="91440" bIns="45720" anchor="t">
            <a:spAutoFit/>
          </a:bodyPr>
          <a:lstStyle/>
          <a:p>
            <a:r>
              <a:rPr lang="en-US" sz="1600">
                <a:ea typeface="+mn-lt"/>
                <a:cs typeface="Calibri"/>
              </a:rPr>
              <a:t>Market study focused on </a:t>
            </a:r>
            <a:r>
              <a:rPr lang="en-US" sz="1600" b="1">
                <a:ea typeface="+mn-lt"/>
                <a:cs typeface="Calibri"/>
              </a:rPr>
              <a:t>assessing the competitiveness of DEN’s non-aeronautical land for clean technology land use </a:t>
            </a:r>
            <a:r>
              <a:rPr lang="en-US" sz="1600">
                <a:ea typeface="+mn-lt"/>
                <a:cs typeface="Calibri"/>
              </a:rPr>
              <a:t>in the Rocky Mountain Region and USA. Research a wide range of data sources and engage with stakeholders to determine how well DEN is positioned to attract clean tech companies, projects, and investment relative to other sites in the region and nationally. The findings will provide actionable recommendations to enhance site attractiveness, identify priority clean tech subsectors, and guide future marketing and investment strategies.</a:t>
            </a:r>
          </a:p>
          <a:p>
            <a:br>
              <a:rPr lang="en-US" sz="1600" b="1" i="0" u="none" strike="noStrike" kern="1200" cap="none" spc="0" normalizeH="0" baseline="0" noProof="0">
                <a:ln>
                  <a:noFill/>
                </a:ln>
                <a:effectLst/>
                <a:uLnTx/>
                <a:uFillTx/>
                <a:ea typeface="+mn-lt"/>
                <a:cs typeface="Calibri"/>
              </a:rPr>
            </a:br>
            <a:r>
              <a:rPr kumimoji="0" lang="en-US" sz="1600" b="1" i="0" u="none" strike="noStrike" kern="1200" cap="none" spc="0" normalizeH="0" baseline="0" noProof="0">
                <a:ln>
                  <a:noFill/>
                </a:ln>
                <a:solidFill>
                  <a:prstClr val="black"/>
                </a:solidFill>
                <a:effectLst/>
                <a:uLnTx/>
                <a:uFillTx/>
                <a:ea typeface="+mn-ea"/>
                <a:cs typeface="Calibri"/>
              </a:rPr>
              <a:t>KEY INFORMATION </a:t>
            </a:r>
            <a:endParaRPr lang="en-US" sz="1600" b="1" i="0" u="none" strike="noStrike" kern="1200" cap="none" spc="0" normalizeH="0" baseline="0" noProof="0">
              <a:ln>
                <a:noFill/>
              </a:ln>
              <a:solidFill>
                <a:prstClr val="black"/>
              </a:solidFill>
              <a:effectLst/>
              <a:uLnTx/>
              <a:uFillTx/>
              <a:ea typeface="Calibri"/>
              <a:cs typeface="Calibri"/>
            </a:endParaRPr>
          </a:p>
          <a:p>
            <a:pPr>
              <a:defRPr/>
            </a:pPr>
            <a:r>
              <a:rPr kumimoji="0" lang="en-US" sz="1600" b="1" i="0" u="none" strike="noStrike" kern="1200" cap="none" spc="0" normalizeH="0" baseline="0" noProof="0">
                <a:ln>
                  <a:noFill/>
                </a:ln>
                <a:effectLst/>
                <a:uLnTx/>
                <a:uFillTx/>
                <a:ea typeface="+mn-ea"/>
                <a:cs typeface="Calibri"/>
              </a:rPr>
              <a:t>Anticipated Advertisement Date: </a:t>
            </a:r>
            <a:r>
              <a:rPr lang="en-US" sz="1600">
                <a:cs typeface="Calibri"/>
              </a:rPr>
              <a:t>Q2 2026</a:t>
            </a:r>
            <a:endParaRPr lang="en-US" sz="1600">
              <a:solidFill>
                <a:prstClr val="black"/>
              </a:solidFill>
              <a:ea typeface="+mn-lt"/>
              <a:cs typeface="+mn-lt"/>
            </a:endParaRPr>
          </a:p>
          <a:p>
            <a:pPr>
              <a:defRPr/>
            </a:pPr>
            <a:r>
              <a:rPr lang="en-US" sz="1600" b="1">
                <a:ea typeface="+mn-lt"/>
                <a:cs typeface="+mn-lt"/>
              </a:rPr>
              <a:t>Small Business Program Goal: </a:t>
            </a:r>
            <a:r>
              <a:rPr lang="en-US" sz="1600">
                <a:ea typeface="+mn-lt"/>
                <a:cs typeface="+mn-lt"/>
              </a:rPr>
              <a:t>No Goal</a:t>
            </a:r>
          </a:p>
          <a:p>
            <a:pPr>
              <a:defRPr/>
            </a:pPr>
            <a:br>
              <a:rPr lang="en-US" sz="1600" b="1">
                <a:ea typeface="+mn-lt"/>
                <a:cs typeface="+mn-lt"/>
              </a:rPr>
            </a:br>
            <a:r>
              <a:rPr lang="en-US" sz="1600" b="1">
                <a:solidFill>
                  <a:prstClr val="black"/>
                </a:solidFill>
                <a:ea typeface="+mn-lt"/>
                <a:cs typeface="+mn-lt"/>
              </a:rPr>
              <a:t>Key Scope/Industry: </a:t>
            </a:r>
          </a:p>
          <a:p>
            <a:pPr marL="285750" indent="-285750">
              <a:buClr>
                <a:srgbClr val="E35B2A"/>
              </a:buClr>
              <a:buFont typeface="Arial"/>
              <a:buChar char="•"/>
              <a:defRPr/>
            </a:pPr>
            <a:r>
              <a:rPr lang="en-US" sz="1600">
                <a:solidFill>
                  <a:prstClr val="black"/>
                </a:solidFill>
                <a:ea typeface="+mn-lt"/>
                <a:cs typeface="Calibri"/>
              </a:rPr>
              <a:t>Economic development and market competitiveness </a:t>
            </a:r>
          </a:p>
          <a:p>
            <a:pPr marL="285750" indent="-285750">
              <a:buClr>
                <a:srgbClr val="E35B2A"/>
              </a:buClr>
              <a:buFont typeface="Arial"/>
              <a:buChar char="•"/>
              <a:defRPr/>
            </a:pPr>
            <a:endParaRPr kumimoji="0" lang="en-US" sz="1600" i="0" u="none" strike="noStrike" kern="1200" cap="none" spc="0" normalizeH="0" baseline="0" noProof="0">
              <a:ln>
                <a:noFill/>
              </a:ln>
              <a:solidFill>
                <a:prstClr val="black"/>
              </a:solidFill>
              <a:effectLst/>
              <a:uLnTx/>
              <a:uFillTx/>
              <a:ea typeface="+mn-lt"/>
              <a:cs typeface="Calibri"/>
            </a:endParaRPr>
          </a:p>
          <a:p>
            <a:pPr>
              <a:buClr>
                <a:srgbClr val="E35B2A"/>
              </a:buClr>
              <a:defRPr/>
            </a:pPr>
            <a:r>
              <a:rPr kumimoji="0" lang="en-US" sz="1600" b="1" i="0" u="none" strike="noStrike" kern="1200" cap="none" spc="0" normalizeH="0" baseline="0" noProof="0">
                <a:ln>
                  <a:noFill/>
                </a:ln>
                <a:effectLst/>
                <a:uLnTx/>
                <a:uFillTx/>
                <a:ea typeface="+mn-ea"/>
                <a:cs typeface="Calibri"/>
              </a:rPr>
              <a:t>Project Manager: </a:t>
            </a:r>
            <a:r>
              <a:rPr lang="en-US" sz="1600">
                <a:cs typeface="Calibri"/>
              </a:rPr>
              <a:t>Madison Schliewe| </a:t>
            </a:r>
            <a:r>
              <a:rPr lang="en-US" sz="1600">
                <a:cs typeface="Calibri"/>
                <a:hlinkClick r:id="rId3"/>
              </a:rPr>
              <a:t>madison.schliewe@flydenver.com</a:t>
            </a:r>
            <a:r>
              <a:rPr lang="en-US" sz="1600">
                <a:cs typeface="Calibri"/>
              </a:rPr>
              <a:t> </a:t>
            </a:r>
            <a:endParaRPr lang="en-US" sz="1600">
              <a:solidFill>
                <a:srgbClr val="0070C0"/>
              </a:solidFill>
              <a:ea typeface="Calibri"/>
              <a:cs typeface="Calibri"/>
              <a:hlinkClick r:id="" action="ppaction://noaction">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16814320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289DD0-4089-9DDD-EE0C-B2CB8631852E}"/>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A2432F46-F483-A5A5-2189-34A8C014CCC7}"/>
              </a:ext>
            </a:extLst>
          </p:cNvPr>
          <p:cNvSpPr>
            <a:spLocks noGrp="1"/>
          </p:cNvSpPr>
          <p:nvPr>
            <p:ph type="title" idx="4294967295"/>
          </p:nvPr>
        </p:nvSpPr>
        <p:spPr>
          <a:xfrm>
            <a:off x="2359841" y="1040046"/>
            <a:ext cx="8694737" cy="1189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latin typeface="Calibri Light"/>
                <a:ea typeface="Calibri Light"/>
                <a:cs typeface="Calibri Light"/>
              </a:rPr>
              <a:t>Total Queue Management (TQM)</a:t>
            </a:r>
            <a:br>
              <a:rPr lang="en-US" sz="3600">
                <a:latin typeface="Calibri Light"/>
                <a:ea typeface="Calibri Light"/>
                <a:cs typeface="Calibri Light"/>
              </a:rPr>
            </a:br>
            <a:r>
              <a:rPr lang="en-US" sz="3600">
                <a:solidFill>
                  <a:schemeClr val="bg1"/>
                </a:solidFill>
                <a:ea typeface="Calibri Light"/>
                <a:cs typeface="Calibri Light"/>
              </a:rPr>
              <a:t> </a:t>
            </a:r>
            <a:endParaRPr lang="en-US" sz="3600">
              <a:solidFill>
                <a:schemeClr val="bg1"/>
              </a:solidFill>
              <a:latin typeface="+mn-lt"/>
              <a:ea typeface="Calibri"/>
              <a:cs typeface="Calibri"/>
            </a:endParaRPr>
          </a:p>
        </p:txBody>
      </p:sp>
    </p:spTree>
    <p:extLst>
      <p:ext uri="{BB962C8B-B14F-4D97-AF65-F5344CB8AC3E}">
        <p14:creationId xmlns:p14="http://schemas.microsoft.com/office/powerpoint/2010/main" val="14023361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10F715-E2F2-2369-3650-EF1BCB90C5EF}"/>
            </a:ext>
          </a:extLst>
        </p:cNvPr>
        <p:cNvGrpSpPr/>
        <p:nvPr/>
      </p:nvGrpSpPr>
      <p:grpSpPr>
        <a:xfrm>
          <a:off x="0" y="0"/>
          <a:ext cx="0" cy="0"/>
          <a:chOff x="0" y="0"/>
          <a:chExt cx="0" cy="0"/>
        </a:xfrm>
      </p:grpSpPr>
      <p:sp>
        <p:nvSpPr>
          <p:cNvPr id="16" name="Text Placeholder 15" descr="Security Services, Public Area and Curbside Interfaces&#10;Select a qualified firm to provide security services at Denver International Airport (DEN).&#10;&#10;Scope of Work: &#10;Traffic control, security at sensitive access points, and door alarm response&#10;Loading dock oversight (50+ deliveries/day), patrols, credential verification, and incident resolution&#10;Public Parking Lot patrols, Airport Office Building access, and person vetting&#10;Enforcement of DEN Rules &amp; Regulations and additional security posts as needed&#10;&#10;Workload:&#10;5400 weekly hours (135 FTEs), including Full-Time, Part-Time, and On-Call positions&#10;24/7 staffing for curbside, passenger pick-up/drop-off on levels 4 &amp; 6&#10;Support for 40,000+ vehicle entries per day&#10;​&#10;KEY INFORMATION ​&#10;Anticipated Advertisement Date:  Q2 2025 &#10;Estimated Project Value:  $50M to $99.99M&#10;Small Business Program Goal: 5% MWBE&#10;Key Scope/Industry:​  Security Guard Services, Public Area, and Curbside Interfaces&#10;Project Manager​: Matt Gomez-Peterson; matthew.gomez-peterson@flydenver.com &#10;&#10;Breakout Room Closed – Contact Project Manager&#10;&#10;">
            <a:extLst>
              <a:ext uri="{FF2B5EF4-FFF2-40B4-BE49-F238E27FC236}">
                <a16:creationId xmlns:a16="http://schemas.microsoft.com/office/drawing/2014/main" id="{CB9A411A-ACAF-F717-0A5B-10F20779FC93}"/>
              </a:ext>
            </a:extLst>
          </p:cNvPr>
          <p:cNvSpPr>
            <a:spLocks noGrp="1"/>
          </p:cNvSpPr>
          <p:nvPr>
            <p:ph type="title" idx="4294967295"/>
          </p:nvPr>
        </p:nvSpPr>
        <p:spPr>
          <a:xfrm>
            <a:off x="771857" y="315633"/>
            <a:ext cx="9168219" cy="57831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2800">
                <a:solidFill>
                  <a:srgbClr val="440099"/>
                </a:solidFill>
                <a:latin typeface="+mn-lt"/>
                <a:ea typeface="+mn-ea"/>
                <a:cs typeface="+mn-cs"/>
              </a:rPr>
              <a:t>Total Queue Management (TQM)</a:t>
            </a:r>
          </a:p>
        </p:txBody>
      </p:sp>
      <p:sp>
        <p:nvSpPr>
          <p:cNvPr id="3" name="TextBox 2">
            <a:extLst>
              <a:ext uri="{FF2B5EF4-FFF2-40B4-BE49-F238E27FC236}">
                <a16:creationId xmlns:a16="http://schemas.microsoft.com/office/drawing/2014/main" id="{58B95F97-4C0B-9988-AAA8-DF6F1DA1FA5E}"/>
              </a:ext>
              <a:ext uri="{C183D7F6-B498-43B3-948B-1728B52AA6E4}">
                <adec:decorative xmlns:adec="http://schemas.microsoft.com/office/drawing/2017/decorative" val="1"/>
              </a:ext>
            </a:extLst>
          </p:cNvPr>
          <p:cNvSpPr txBox="1"/>
          <p:nvPr/>
        </p:nvSpPr>
        <p:spPr>
          <a:xfrm>
            <a:off x="869830" y="1220156"/>
            <a:ext cx="9070247" cy="4524315"/>
          </a:xfrm>
          <a:prstGeom prst="rect">
            <a:avLst/>
          </a:prstGeom>
          <a:noFill/>
        </p:spPr>
        <p:txBody>
          <a:bodyPr wrap="square" lIns="91440" tIns="45720" rIns="91440" bIns="45720" anchor="t">
            <a:spAutoFit/>
          </a:bodyPr>
          <a:lstStyle/>
          <a:p>
            <a:pPr defTabSz="914377"/>
            <a:r>
              <a:rPr lang="en-US" sz="1600">
                <a:solidFill>
                  <a:prstClr val="black"/>
                </a:solidFill>
                <a:latin typeface="Calibri" panose="020F0502020204030204"/>
              </a:rPr>
              <a:t>The scope of work for this project is to manage the queue systems, customer service, and wayfinding services at and around the security screening checkpoints operated by the Transportation Security Administration (TSA), within the Federal Inspection Services (FIS) facility operated by US Customs and Border Protection (CBP), as well as throughout the Terminal and Concourses for special projects such as the Automated Guideway Transit System (AGTS) Revitalization Project.</a:t>
            </a:r>
          </a:p>
          <a:p>
            <a:pPr defTabSz="914377"/>
            <a:endParaRPr lang="en-US" sz="1600" b="1">
              <a:solidFill>
                <a:prstClr val="black"/>
              </a:solidFill>
              <a:latin typeface="Calibri" panose="020F0502020204030204"/>
            </a:endParaRPr>
          </a:p>
          <a:p>
            <a:pPr defTabSz="914377"/>
            <a:r>
              <a:rPr lang="en-US" sz="1600" b="1">
                <a:solidFill>
                  <a:prstClr val="black"/>
                </a:solidFill>
                <a:latin typeface="Calibri" panose="020F0502020204030204"/>
              </a:rPr>
              <a:t>Key Scope:</a:t>
            </a:r>
          </a:p>
          <a:p>
            <a:pPr marL="285744" indent="-285744" defTabSz="914377">
              <a:buClr>
                <a:srgbClr val="E35B2A"/>
              </a:buClr>
              <a:buFont typeface="Arial" panose="020B0604020202020204" pitchFamily="34" charset="0"/>
              <a:buChar char="•"/>
            </a:pPr>
            <a:r>
              <a:rPr lang="en-US" sz="1600">
                <a:solidFill>
                  <a:prstClr val="black"/>
                </a:solidFill>
                <a:latin typeface="Calibri" panose="020F0502020204030204"/>
              </a:rPr>
              <a:t>Excellent face-to-face customer service skills</a:t>
            </a:r>
          </a:p>
          <a:p>
            <a:pPr marL="285744" indent="-285744" defTabSz="914377">
              <a:buClr>
                <a:srgbClr val="E35B2A"/>
              </a:buClr>
              <a:buFont typeface="Arial" panose="020B0604020202020204" pitchFamily="34" charset="0"/>
              <a:buChar char="•"/>
            </a:pPr>
            <a:r>
              <a:rPr lang="en-US" sz="1600">
                <a:solidFill>
                  <a:prstClr val="black"/>
                </a:solidFill>
                <a:latin typeface="Calibri" panose="020F0502020204030204"/>
              </a:rPr>
              <a:t>Ability to multitask in a dynamic environment</a:t>
            </a:r>
          </a:p>
          <a:p>
            <a:pPr marL="285744" indent="-285744" defTabSz="914377">
              <a:buClr>
                <a:srgbClr val="E35B2A"/>
              </a:buClr>
              <a:buFont typeface="Arial" panose="020B0604020202020204" pitchFamily="34" charset="0"/>
              <a:buChar char="•"/>
            </a:pPr>
            <a:r>
              <a:rPr lang="en-US" sz="1600">
                <a:solidFill>
                  <a:prstClr val="black"/>
                </a:solidFill>
                <a:latin typeface="Calibri" panose="020F0502020204030204"/>
              </a:rPr>
              <a:t>Line and queue management experience</a:t>
            </a:r>
          </a:p>
          <a:p>
            <a:pPr marL="285744" indent="-285744" defTabSz="914377">
              <a:buClr>
                <a:srgbClr val="E35B2A"/>
              </a:buClr>
              <a:buFont typeface="Arial" panose="020B0604020202020204" pitchFamily="34" charset="0"/>
              <a:buChar char="•"/>
            </a:pPr>
            <a:r>
              <a:rPr lang="en-US" sz="1600">
                <a:solidFill>
                  <a:prstClr val="black"/>
                </a:solidFill>
                <a:latin typeface="Calibri" panose="020F0502020204030204"/>
              </a:rPr>
              <a:t>Strong teamwork and collaboration</a:t>
            </a:r>
          </a:p>
          <a:p>
            <a:pPr marL="285744" indent="-285744" defTabSz="914377">
              <a:buClr>
                <a:srgbClr val="E35B2A"/>
              </a:buClr>
              <a:buFont typeface="Arial" panose="020B0604020202020204" pitchFamily="34" charset="0"/>
              <a:buChar char="•"/>
            </a:pPr>
            <a:r>
              <a:rPr lang="en-US" sz="1600">
                <a:solidFill>
                  <a:prstClr val="black"/>
                </a:solidFill>
                <a:latin typeface="Calibri" panose="020F0502020204030204"/>
              </a:rPr>
              <a:t>Clear and effective wayfinding assistance</a:t>
            </a:r>
          </a:p>
          <a:p>
            <a:pPr defTabSz="914377"/>
            <a:br>
              <a:rPr lang="en-US" sz="1600" b="1">
                <a:solidFill>
                  <a:prstClr val="black"/>
                </a:solidFill>
                <a:latin typeface="Calibri" panose="020F0502020204030204"/>
              </a:rPr>
            </a:br>
            <a:r>
              <a:rPr lang="en-US" sz="1600" b="1">
                <a:solidFill>
                  <a:prstClr val="black">
                    <a:lumMod val="95000"/>
                    <a:lumOff val="5000"/>
                  </a:prstClr>
                </a:solidFill>
                <a:latin typeface="Calibri" panose="020F0502020204030204"/>
              </a:rPr>
              <a:t>KEY INFORMATION ​</a:t>
            </a:r>
            <a:endParaRPr lang="en-US" sz="1600" b="1">
              <a:solidFill>
                <a:prstClr val="black">
                  <a:lumMod val="95000"/>
                  <a:lumOff val="5000"/>
                </a:prstClr>
              </a:solidFill>
              <a:latin typeface="Calibri" panose="020F0502020204030204"/>
              <a:ea typeface="Calibri"/>
              <a:cs typeface="Calibri"/>
            </a:endParaRPr>
          </a:p>
          <a:p>
            <a:pPr defTabSz="914377">
              <a:defRPr/>
            </a:pPr>
            <a:r>
              <a:rPr lang="en-US" sz="1600" b="1">
                <a:solidFill>
                  <a:prstClr val="black">
                    <a:lumMod val="95000"/>
                    <a:lumOff val="5000"/>
                  </a:prstClr>
                </a:solidFill>
                <a:latin typeface="Calibri" panose="020F0502020204030204"/>
              </a:rPr>
              <a:t>Anticipated Advertisement Date:  </a:t>
            </a:r>
            <a:r>
              <a:rPr lang="en-US" sz="1600">
                <a:solidFill>
                  <a:prstClr val="black">
                    <a:lumMod val="95000"/>
                    <a:lumOff val="5000"/>
                  </a:prstClr>
                </a:solidFill>
                <a:latin typeface="Calibri" panose="020F0502020204030204"/>
              </a:rPr>
              <a:t> Q2/Q3 2026</a:t>
            </a:r>
            <a:endParaRPr lang="en-US" sz="1600">
              <a:solidFill>
                <a:prstClr val="black">
                  <a:lumMod val="95000"/>
                  <a:lumOff val="5000"/>
                </a:prstClr>
              </a:solidFill>
              <a:latin typeface="Calibri" panose="020F0502020204030204"/>
              <a:ea typeface="Calibri"/>
              <a:cs typeface="Calibri"/>
            </a:endParaRPr>
          </a:p>
          <a:p>
            <a:pPr defTabSz="914377">
              <a:defRPr/>
            </a:pPr>
            <a:r>
              <a:rPr lang="en-US" sz="1600" b="1">
                <a:solidFill>
                  <a:prstClr val="black">
                    <a:lumMod val="95000"/>
                    <a:lumOff val="5000"/>
                  </a:prstClr>
                </a:solidFill>
                <a:latin typeface="Calibri" panose="020F0502020204030204"/>
              </a:rPr>
              <a:t>Estimated Project Value: </a:t>
            </a:r>
            <a:r>
              <a:rPr lang="en-US" sz="1600">
                <a:solidFill>
                  <a:prstClr val="black">
                    <a:lumMod val="95000"/>
                    <a:lumOff val="5000"/>
                  </a:prstClr>
                </a:solidFill>
                <a:latin typeface="Calibri" panose="020F0502020204030204"/>
              </a:rPr>
              <a:t> $30M to $40M over 5 years</a:t>
            </a:r>
          </a:p>
          <a:p>
            <a:pPr defTabSz="914377">
              <a:defRPr/>
            </a:pPr>
            <a:r>
              <a:rPr lang="en-US" sz="1600" b="1">
                <a:solidFill>
                  <a:prstClr val="black">
                    <a:lumMod val="95000"/>
                    <a:lumOff val="5000"/>
                  </a:prstClr>
                </a:solidFill>
                <a:latin typeface="Calibri" panose="020F0502020204030204"/>
              </a:rPr>
              <a:t>Small Business Program Goal:  </a:t>
            </a:r>
            <a:r>
              <a:rPr lang="en-US" sz="1600">
                <a:solidFill>
                  <a:prstClr val="black">
                    <a:lumMod val="95000"/>
                    <a:lumOff val="5000"/>
                  </a:prstClr>
                </a:solidFill>
                <a:latin typeface="Calibri" panose="020F0502020204030204"/>
              </a:rPr>
              <a:t>17%</a:t>
            </a:r>
            <a:endParaRPr lang="en-US" sz="1600" b="1">
              <a:solidFill>
                <a:prstClr val="black">
                  <a:lumMod val="95000"/>
                  <a:lumOff val="5000"/>
                </a:prstClr>
              </a:solidFill>
              <a:latin typeface="Calibri" panose="020F0502020204030204"/>
            </a:endParaRPr>
          </a:p>
          <a:p>
            <a:pPr defTabSz="914377">
              <a:defRPr/>
            </a:pPr>
            <a:r>
              <a:rPr lang="en-US" sz="1600" b="1">
                <a:solidFill>
                  <a:prstClr val="black">
                    <a:lumMod val="95000"/>
                    <a:lumOff val="5000"/>
                  </a:prstClr>
                </a:solidFill>
                <a:latin typeface="Calibri" panose="020F0502020204030204"/>
              </a:rPr>
              <a:t>Project Manager​: </a:t>
            </a:r>
            <a:r>
              <a:rPr lang="en-US" sz="1600">
                <a:solidFill>
                  <a:prstClr val="black">
                    <a:lumMod val="95000"/>
                    <a:lumOff val="5000"/>
                  </a:prstClr>
                </a:solidFill>
                <a:latin typeface="Calibri" panose="020F0502020204030204"/>
              </a:rPr>
              <a:t> Dave Dalton | </a:t>
            </a:r>
            <a:r>
              <a:rPr lang="en-US" sz="1600">
                <a:solidFill>
                  <a:prstClr val="black">
                    <a:lumMod val="95000"/>
                    <a:lumOff val="5000"/>
                  </a:prstClr>
                </a:solidFill>
                <a:latin typeface="Calibri" panose="020F0502020204030204"/>
                <a:hlinkClick r:id="rId3"/>
              </a:rPr>
              <a:t>Dave.Dalton@flydenver.com</a:t>
            </a:r>
            <a:r>
              <a:rPr lang="en-US" sz="1600">
                <a:solidFill>
                  <a:prstClr val="black">
                    <a:lumMod val="95000"/>
                    <a:lumOff val="5000"/>
                  </a:prstClr>
                </a:solidFill>
                <a:latin typeface="Calibri" panose="020F0502020204030204"/>
              </a:rPr>
              <a:t> </a:t>
            </a:r>
            <a:endParaRPr lang="en-US" sz="1600">
              <a:solidFill>
                <a:prstClr val="black">
                  <a:lumMod val="95000"/>
                  <a:lumOff val="5000"/>
                </a:prstClr>
              </a:solidFill>
              <a:latin typeface="Calibri" panose="020F0502020204030204"/>
              <a:ea typeface="Calibri"/>
              <a:cs typeface="Calibri"/>
            </a:endParaRPr>
          </a:p>
        </p:txBody>
      </p:sp>
    </p:spTree>
    <p:extLst>
      <p:ext uri="{BB962C8B-B14F-4D97-AF65-F5344CB8AC3E}">
        <p14:creationId xmlns:p14="http://schemas.microsoft.com/office/powerpoint/2010/main" val="34536876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descr="Housekeeping&#10;Please note the following Zoom housekeeping items as you enter:&#10;All cameras and microphones must remain off during the main session&#10;We encourage you to use the Q&amp;A function &#10;">
            <a:extLst>
              <a:ext uri="{FF2B5EF4-FFF2-40B4-BE49-F238E27FC236}">
                <a16:creationId xmlns:a16="http://schemas.microsoft.com/office/drawing/2014/main" id="{90003090-4EA3-A38E-7DF8-853A56FC6CCD}"/>
              </a:ext>
              <a:ext uri="{C183D7F6-B498-43B3-948B-1728B52AA6E4}">
                <adec:decorative xmlns:adec="http://schemas.microsoft.com/office/drawing/2017/decorative" val="0"/>
              </a:ext>
            </a:extLst>
          </p:cNvPr>
          <p:cNvSpPr>
            <a:spLocks noGrp="1"/>
          </p:cNvSpPr>
          <p:nvPr>
            <p:ph type="title" idx="4294967295"/>
          </p:nvPr>
        </p:nvSpPr>
        <p:spPr>
          <a:xfrm>
            <a:off x="892366" y="386719"/>
            <a:ext cx="8694738"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440099"/>
                </a:solidFill>
                <a:effectLst/>
                <a:uLnTx/>
                <a:uFillTx/>
                <a:latin typeface="+mn-lt"/>
                <a:ea typeface="+mn-ea"/>
                <a:cs typeface="+mn-cs"/>
              </a:rPr>
              <a:t>Housekeeping</a:t>
            </a:r>
          </a:p>
        </p:txBody>
      </p:sp>
      <p:sp>
        <p:nvSpPr>
          <p:cNvPr id="12" name="Text Placeholder 11">
            <a:extLst>
              <a:ext uri="{FF2B5EF4-FFF2-40B4-BE49-F238E27FC236}">
                <a16:creationId xmlns:a16="http://schemas.microsoft.com/office/drawing/2014/main" id="{F3A340E0-1503-4007-DE5B-398218D4AA5D}"/>
              </a:ext>
              <a:ext uri="{C183D7F6-B498-43B3-948B-1728B52AA6E4}">
                <adec:decorative xmlns:adec="http://schemas.microsoft.com/office/drawing/2017/decorative" val="1"/>
              </a:ext>
            </a:extLst>
          </p:cNvPr>
          <p:cNvSpPr>
            <a:spLocks noGrp="1"/>
          </p:cNvSpPr>
          <p:nvPr>
            <p:ph type="body" sz="quarter" idx="4294967295"/>
          </p:nvPr>
        </p:nvSpPr>
        <p:spPr>
          <a:xfrm>
            <a:off x="892365" y="1566767"/>
            <a:ext cx="10257415" cy="577850"/>
          </a:xfrm>
          <a:prstGeom prst="rect">
            <a:avLst/>
          </a:prstGeom>
        </p:spPr>
        <p:txBody>
          <a:bodyPr/>
          <a:lstStyle/>
          <a:p>
            <a:pPr>
              <a:buClr>
                <a:srgbClr val="E35B2A"/>
              </a:buClr>
            </a:pPr>
            <a:r>
              <a:rPr lang="en-US" sz="2000" dirty="0"/>
              <a:t>Please note the following Zoom housekeeping items as you enter:</a:t>
            </a:r>
          </a:p>
          <a:p>
            <a:pPr>
              <a:buClr>
                <a:srgbClr val="E35B2A"/>
              </a:buClr>
            </a:pPr>
            <a:r>
              <a:rPr lang="en-US" sz="2000" dirty="0"/>
              <a:t>All cameras and microphones must remain off during the main session</a:t>
            </a:r>
          </a:p>
          <a:p>
            <a:pPr>
              <a:buClr>
                <a:srgbClr val="E35B2A"/>
              </a:buClr>
            </a:pPr>
            <a:r>
              <a:rPr lang="en-US" sz="2000" dirty="0"/>
              <a:t>If you would like to introduce your firm to everyone, please scan the QR Code and let us know the projects you are interested in. </a:t>
            </a:r>
          </a:p>
          <a:p>
            <a:pPr marL="0" indent="0">
              <a:buNone/>
            </a:pPr>
            <a:endParaRPr lang="en-US" dirty="0"/>
          </a:p>
        </p:txBody>
      </p:sp>
    </p:spTree>
    <p:extLst>
      <p:ext uri="{BB962C8B-B14F-4D97-AF65-F5344CB8AC3E}">
        <p14:creationId xmlns:p14="http://schemas.microsoft.com/office/powerpoint/2010/main" val="7353309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001595-4A79-AA39-2D82-E8D4A96A48C9}"/>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54ACDF65-042A-45E3-7A17-04E43D553FAE}"/>
              </a:ext>
            </a:extLst>
          </p:cNvPr>
          <p:cNvSpPr>
            <a:spLocks noGrp="1"/>
          </p:cNvSpPr>
          <p:nvPr>
            <p:ph type="title" idx="4294967295"/>
          </p:nvPr>
        </p:nvSpPr>
        <p:spPr>
          <a:xfrm>
            <a:off x="2359839" y="1040045"/>
            <a:ext cx="8694737" cy="1189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ea typeface="+mj-lt"/>
                <a:cs typeface="+mj-lt"/>
              </a:rPr>
              <a:t>2026 On-Call Utility Condition Assessment </a:t>
            </a:r>
            <a:br>
              <a:rPr lang="en-US" sz="3600">
                <a:solidFill>
                  <a:schemeClr val="bg1"/>
                </a:solidFill>
                <a:ea typeface="+mj-lt"/>
                <a:cs typeface="+mj-lt"/>
              </a:rPr>
            </a:br>
            <a:r>
              <a:rPr lang="en-US" sz="3600">
                <a:solidFill>
                  <a:schemeClr val="bg1"/>
                </a:solidFill>
                <a:ea typeface="Calibri Light"/>
                <a:cs typeface="Calibri Light"/>
              </a:rPr>
              <a:t> </a:t>
            </a:r>
            <a:endParaRPr lang="en-US" sz="3600" b="0" i="0" u="none" strike="noStrike" kern="1200" cap="none" spc="0" normalizeH="0" baseline="0" noProof="0">
              <a:ln>
                <a:noFill/>
              </a:ln>
              <a:solidFill>
                <a:schemeClr val="bg1"/>
              </a:solidFill>
              <a:effectLst/>
              <a:uLnTx/>
              <a:uFillTx/>
              <a:latin typeface="+mn-lt"/>
              <a:ea typeface="Calibri"/>
              <a:cs typeface="Calibri"/>
            </a:endParaRPr>
          </a:p>
        </p:txBody>
      </p:sp>
    </p:spTree>
    <p:extLst>
      <p:ext uri="{BB962C8B-B14F-4D97-AF65-F5344CB8AC3E}">
        <p14:creationId xmlns:p14="http://schemas.microsoft.com/office/powerpoint/2010/main" val="34823004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8DA230-5C8B-0BD8-1DE4-502C8485D269}"/>
            </a:ext>
          </a:extLst>
        </p:cNvPr>
        <p:cNvGrpSpPr/>
        <p:nvPr/>
      </p:nvGrpSpPr>
      <p:grpSpPr>
        <a:xfrm>
          <a:off x="0" y="0"/>
          <a:ext cx="0" cy="0"/>
          <a:chOff x="0" y="0"/>
          <a:chExt cx="0" cy="0"/>
        </a:xfrm>
      </p:grpSpPr>
      <p:sp>
        <p:nvSpPr>
          <p:cNvPr id="16" name="Text Placeholder 15" descr="2025 Tunnel Switchgear Heaving Remediation&#10;Six switchgear rooms in the East and West cores of ACON, BCON, and CCON have experienced soil heaving, causing damage to both equipment and enclosures. Additionally, ACON East and West sub-cores face significant water intrusion, impacting switchgear performance.&#10;&#10;Replace damaged switchgear and enclosures.&#10;Install new switchgear on elevated steel platforms anchored to the basement foundation to prevent future heaving impact.&#10;Construct code-compliant enclosures with fire-rated walls, fire suppression, and HVAC.&#10;Remove and replace heaved soil and repair room structures.&#10;Implement water mitigation at ACON sub-cores.&#10;&#10;KEY INFORMATION &#10;Anticipated Advertisement Date:  Q3-Q4&#10;Estimated Project Value: $10M to $49.99M&#10;Small Business Program Goal: TBD&#10;Key Scope/Industry: Electrical, Concrete, Masonry, Earthwork, Civil Utilities, Mechanical, Electrical, Plumbing&#10;Project Manager: Mark Tabugadir| mark.tabugadir@flydenver.com&#10;">
            <a:extLst>
              <a:ext uri="{FF2B5EF4-FFF2-40B4-BE49-F238E27FC236}">
                <a16:creationId xmlns:a16="http://schemas.microsoft.com/office/drawing/2014/main" id="{9FBCC236-AC21-759F-6C4B-27D27113B8C5}"/>
              </a:ext>
            </a:extLst>
          </p:cNvPr>
          <p:cNvSpPr>
            <a:spLocks noGrp="1"/>
          </p:cNvSpPr>
          <p:nvPr>
            <p:ph type="title" idx="4294967295"/>
          </p:nvPr>
        </p:nvSpPr>
        <p:spPr>
          <a:xfrm>
            <a:off x="703950" y="456072"/>
            <a:ext cx="11066462"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2800">
                <a:solidFill>
                  <a:srgbClr val="440099"/>
                </a:solidFill>
                <a:latin typeface="+mn-lt"/>
                <a:ea typeface="+mn-ea"/>
                <a:cs typeface="+mn-cs"/>
              </a:rPr>
              <a:t>2026 On-Call Utility Condition Assessment </a:t>
            </a:r>
          </a:p>
        </p:txBody>
      </p:sp>
      <p:sp>
        <p:nvSpPr>
          <p:cNvPr id="3" name="TextBox 2">
            <a:extLst>
              <a:ext uri="{FF2B5EF4-FFF2-40B4-BE49-F238E27FC236}">
                <a16:creationId xmlns:a16="http://schemas.microsoft.com/office/drawing/2014/main" id="{E9BD6912-F601-95F2-743B-BFF1B9727F23}"/>
              </a:ext>
              <a:ext uri="{C183D7F6-B498-43B3-948B-1728B52AA6E4}">
                <adec:decorative xmlns:adec="http://schemas.microsoft.com/office/drawing/2017/decorative" val="0"/>
              </a:ext>
            </a:extLst>
          </p:cNvPr>
          <p:cNvSpPr txBox="1"/>
          <p:nvPr/>
        </p:nvSpPr>
        <p:spPr>
          <a:xfrm>
            <a:off x="769069" y="1507647"/>
            <a:ext cx="10653861" cy="3785652"/>
          </a:xfrm>
          <a:prstGeom prst="rect">
            <a:avLst/>
          </a:prstGeom>
          <a:noFill/>
        </p:spPr>
        <p:txBody>
          <a:bodyPr wrap="square" lIns="91440" tIns="45720" rIns="91440" bIns="45720" anchor="t">
            <a:spAutoFit/>
          </a:bodyPr>
          <a:lstStyle/>
          <a:p>
            <a:r>
              <a:rPr lang="en-US" sz="1600">
                <a:ea typeface="+mn-lt"/>
                <a:cs typeface="+mn-lt"/>
              </a:rPr>
              <a:t>Denver International Airport (DEN) covers approximately 53 square miles which includes numerous buildings and hundreds of miles of wet utility systems. This agreement is for assessment, closed-circuit television (CCTV) inspection, jetting, survey, modeling and reporting for DEN utility systems located landside and airside. Example systems for assessment may include sanitary sewer collection system, stormwater drainage system, deicing systems, and associated appurtenances.   </a:t>
            </a:r>
            <a:endParaRPr lang="en-US" sz="1600" b="1">
              <a:solidFill>
                <a:prstClr val="black"/>
              </a:solidFill>
              <a:cs typeface="Calibri"/>
            </a:endParaRPr>
          </a:p>
          <a:p>
            <a:endParaRPr kumimoji="0" lang="en-US" sz="1600" b="1" i="0" u="none" strike="noStrike" kern="1200" cap="none" spc="0" normalizeH="0" baseline="0" noProof="0">
              <a:ln>
                <a:noFill/>
              </a:ln>
              <a:solidFill>
                <a:prstClr val="black"/>
              </a:solidFill>
              <a:effectLst/>
              <a:uLnTx/>
              <a:uFillTx/>
              <a:ea typeface="+mn-ea"/>
              <a:cs typeface="Calibri"/>
            </a:endParaRPr>
          </a:p>
          <a:p>
            <a:r>
              <a:rPr kumimoji="0" lang="en-US" sz="1600" b="1" i="0" u="none" strike="noStrike" kern="1200" cap="none" spc="0" normalizeH="0" baseline="0" noProof="0">
                <a:ln>
                  <a:noFill/>
                </a:ln>
                <a:solidFill>
                  <a:prstClr val="black"/>
                </a:solidFill>
                <a:effectLst/>
                <a:uLnTx/>
                <a:uFillTx/>
                <a:ea typeface="+mn-ea"/>
                <a:cs typeface="Calibri"/>
              </a:rPr>
              <a:t>KEY INFORMATION </a:t>
            </a:r>
            <a:endParaRPr kumimoji="0" lang="en-US" sz="1600" b="1" i="0" u="none" strike="noStrike" kern="1200" cap="none" spc="0" normalizeH="0" baseline="0" noProof="0">
              <a:ln>
                <a:noFill/>
              </a:ln>
              <a:solidFill>
                <a:prstClr val="black"/>
              </a:solidFill>
              <a:effectLst/>
              <a:uLnTx/>
              <a:uFillTx/>
              <a:ea typeface="Calibri"/>
              <a:cs typeface="Calibri"/>
            </a:endParaRPr>
          </a:p>
          <a:p>
            <a:pPr>
              <a:defRPr/>
            </a:pPr>
            <a:r>
              <a:rPr kumimoji="0" lang="en-US" sz="1600" b="1" i="0" u="none" strike="noStrike" kern="1200" cap="none" spc="0" normalizeH="0" baseline="0" noProof="0">
                <a:ln>
                  <a:noFill/>
                </a:ln>
                <a:solidFill>
                  <a:prstClr val="black"/>
                </a:solidFill>
                <a:effectLst/>
                <a:uLnTx/>
                <a:uFillTx/>
                <a:ea typeface="+mn-ea"/>
                <a:cs typeface="Calibri"/>
              </a:rPr>
              <a:t>Anticipated Advertisement Date: </a:t>
            </a:r>
            <a:r>
              <a:rPr kumimoji="0" lang="en-US" sz="1600" b="0" i="0" u="none" strike="noStrike" kern="1200" cap="none" spc="0" normalizeH="0" baseline="0" noProof="0">
                <a:ln>
                  <a:noFill/>
                </a:ln>
                <a:solidFill>
                  <a:prstClr val="black"/>
                </a:solidFill>
                <a:effectLst/>
                <a:uLnTx/>
                <a:uFillTx/>
                <a:ea typeface="+mn-ea"/>
                <a:cs typeface="Calibri"/>
              </a:rPr>
              <a:t> </a:t>
            </a:r>
            <a:r>
              <a:rPr lang="en-US" sz="1600">
                <a:solidFill>
                  <a:prstClr val="black"/>
                </a:solidFill>
                <a:cs typeface="Calibri"/>
              </a:rPr>
              <a:t>Q2 2026</a:t>
            </a:r>
            <a:endParaRPr kumimoji="0" lang="en-US" sz="1600" b="0" i="0" u="none" strike="noStrike" kern="1200" cap="none" spc="0" normalizeH="0" baseline="0" noProof="0">
              <a:ln>
                <a:noFill/>
              </a:ln>
              <a:solidFill>
                <a:prstClr val="black"/>
              </a:solidFill>
              <a:effectLst/>
              <a:uLnTx/>
              <a:uFillTx/>
              <a:ea typeface="Calibri"/>
              <a:cs typeface="Calibri"/>
            </a:endParaRPr>
          </a:p>
          <a:p>
            <a:pPr>
              <a:defRPr/>
            </a:pPr>
            <a:r>
              <a:rPr kumimoji="0" lang="en-US" sz="1600" b="1" i="0" u="none" strike="noStrike" kern="1200" cap="none" spc="0" normalizeH="0" baseline="0" noProof="0">
                <a:ln>
                  <a:noFill/>
                </a:ln>
                <a:solidFill>
                  <a:prstClr val="black"/>
                </a:solidFill>
                <a:effectLst/>
                <a:uLnTx/>
                <a:uFillTx/>
                <a:ea typeface="+mn-ea"/>
                <a:cs typeface="Calibri"/>
              </a:rPr>
              <a:t>Estimated Project Value: </a:t>
            </a:r>
            <a:r>
              <a:rPr lang="en-US" sz="1600">
                <a:solidFill>
                  <a:prstClr val="black"/>
                </a:solidFill>
                <a:cs typeface="Calibri"/>
              </a:rPr>
              <a:t>$5M to $9.99M</a:t>
            </a:r>
          </a:p>
          <a:p>
            <a:pPr>
              <a:defRPr/>
            </a:pPr>
            <a:r>
              <a:rPr lang="en-US" sz="1600" b="1">
                <a:solidFill>
                  <a:prstClr val="black"/>
                </a:solidFill>
                <a:ea typeface="Calibri"/>
                <a:cs typeface="Calibri"/>
              </a:rPr>
              <a:t>Key Scope: </a:t>
            </a:r>
            <a:r>
              <a:rPr lang="en-US" sz="1600">
                <a:solidFill>
                  <a:prstClr val="black"/>
                </a:solidFill>
                <a:ea typeface="Calibri"/>
                <a:cs typeface="Calibri"/>
              </a:rPr>
              <a:t>A. National Association of Sewer Service Companies (NASSCO) Pipeline Assessment and Certification Program (PACP) qualified  B. Non-Destructive Testing services such as Eddy Current, Ultrasonic and X ray   C. Specialized system investigative capability as needed   D. System Information Modeling Data Collection and Scanning as specified on each task   E. Survey data collected on DEN survey RTK network, with a defined and approved DEN Survey Scope of Work (SOW)  F. Hydro jetting and pumping services as needed for a variety of pipe sizes and locations</a:t>
            </a:r>
            <a:r>
              <a:rPr lang="en-US" sz="1600" b="1">
                <a:solidFill>
                  <a:prstClr val="black"/>
                </a:solidFill>
                <a:ea typeface="Calibri"/>
                <a:cs typeface="Calibri"/>
              </a:rPr>
              <a:t> </a:t>
            </a:r>
          </a:p>
          <a:p>
            <a:pPr>
              <a:defRPr/>
            </a:pPr>
            <a:r>
              <a:rPr lang="en-US" sz="1600" b="1">
                <a:solidFill>
                  <a:prstClr val="black"/>
                </a:solidFill>
                <a:ea typeface="Calibri"/>
                <a:cs typeface="Calibri"/>
              </a:rPr>
              <a:t>Small Business Program Goal: </a:t>
            </a:r>
            <a:r>
              <a:rPr lang="en-US" sz="1600">
                <a:solidFill>
                  <a:prstClr val="black"/>
                </a:solidFill>
                <a:ea typeface="Calibri"/>
                <a:cs typeface="Calibri"/>
              </a:rPr>
              <a:t>No Program</a:t>
            </a:r>
          </a:p>
          <a:p>
            <a:pPr>
              <a:defRPr/>
            </a:pPr>
            <a:r>
              <a:rPr lang="en-US" sz="1600" b="1">
                <a:solidFill>
                  <a:prstClr val="black"/>
                </a:solidFill>
                <a:ea typeface="Calibri"/>
                <a:cs typeface="Calibri"/>
              </a:rPr>
              <a:t>Project Manager: </a:t>
            </a:r>
            <a:r>
              <a:rPr lang="en-US" sz="1600">
                <a:solidFill>
                  <a:prstClr val="black"/>
                </a:solidFill>
                <a:ea typeface="Calibri"/>
                <a:cs typeface="Calibri"/>
              </a:rPr>
              <a:t>Sara Edson| </a:t>
            </a:r>
            <a:r>
              <a:rPr lang="en-US" sz="1600">
                <a:solidFill>
                  <a:prstClr val="black"/>
                </a:solidFill>
                <a:ea typeface="Calibri"/>
                <a:cs typeface="Calibri"/>
                <a:hlinkClick r:id="rId3">
                  <a:extLst>
                    <a:ext uri="{A12FA001-AC4F-418D-AE19-62706E023703}">
                      <ahyp:hlinkClr xmlns:ahyp="http://schemas.microsoft.com/office/drawing/2018/hyperlinkcolor" val="tx"/>
                    </a:ext>
                  </a:extLst>
                </a:hlinkClick>
              </a:rPr>
              <a:t>Sara.Edson@flydenver.com</a:t>
            </a:r>
            <a:r>
              <a:rPr lang="en-US" sz="1600">
                <a:solidFill>
                  <a:prstClr val="black"/>
                </a:solidFill>
                <a:ea typeface="Calibri"/>
                <a:cs typeface="Calibri"/>
              </a:rPr>
              <a:t> </a:t>
            </a:r>
            <a:endParaRPr lang="en-US" sz="1600">
              <a:solidFill>
                <a:prstClr val="black"/>
              </a:solidFill>
            </a:endParaRPr>
          </a:p>
        </p:txBody>
      </p:sp>
    </p:spTree>
    <p:extLst>
      <p:ext uri="{BB962C8B-B14F-4D97-AF65-F5344CB8AC3E}">
        <p14:creationId xmlns:p14="http://schemas.microsoft.com/office/powerpoint/2010/main" val="17232116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6FCFBF-1655-379D-094B-9145EDAC8C1C}"/>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82E3D190-037C-CF31-DEBB-EDD51820DC14}"/>
              </a:ext>
            </a:extLst>
          </p:cNvPr>
          <p:cNvSpPr>
            <a:spLocks noGrp="1"/>
          </p:cNvSpPr>
          <p:nvPr>
            <p:ph type="title" idx="4294967295"/>
          </p:nvPr>
        </p:nvSpPr>
        <p:spPr>
          <a:xfrm>
            <a:off x="2359839" y="1040045"/>
            <a:ext cx="8694737" cy="1189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ea typeface="+mj-lt"/>
                <a:cs typeface="+mj-lt"/>
              </a:rPr>
              <a:t>DEN Security Services - Regulatory Services</a:t>
            </a:r>
            <a:br>
              <a:rPr lang="en-US" sz="3600">
                <a:ea typeface="+mj-lt"/>
                <a:cs typeface="+mj-lt"/>
              </a:rPr>
            </a:br>
            <a:r>
              <a:rPr lang="en-US" sz="3600">
                <a:solidFill>
                  <a:schemeClr val="bg1"/>
                </a:solidFill>
                <a:ea typeface="Calibri Light"/>
                <a:cs typeface="Calibri Light"/>
              </a:rPr>
              <a:t> </a:t>
            </a:r>
            <a:endParaRPr lang="en-US" sz="3600" b="0" i="0" u="none" strike="noStrike" kern="1200" cap="none" spc="0" normalizeH="0" baseline="0" noProof="0">
              <a:ln>
                <a:noFill/>
              </a:ln>
              <a:solidFill>
                <a:schemeClr val="bg1"/>
              </a:solidFill>
              <a:effectLst/>
              <a:uLnTx/>
              <a:uFillTx/>
              <a:latin typeface="+mn-lt"/>
              <a:ea typeface="Calibri"/>
              <a:cs typeface="Calibri"/>
            </a:endParaRPr>
          </a:p>
        </p:txBody>
      </p:sp>
    </p:spTree>
    <p:extLst>
      <p:ext uri="{BB962C8B-B14F-4D97-AF65-F5344CB8AC3E}">
        <p14:creationId xmlns:p14="http://schemas.microsoft.com/office/powerpoint/2010/main" val="8502554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AE07D7-CF6A-47F7-3112-A1870B21452A}"/>
            </a:ext>
          </a:extLst>
        </p:cNvPr>
        <p:cNvGrpSpPr/>
        <p:nvPr/>
      </p:nvGrpSpPr>
      <p:grpSpPr>
        <a:xfrm>
          <a:off x="0" y="0"/>
          <a:ext cx="0" cy="0"/>
          <a:chOff x="0" y="0"/>
          <a:chExt cx="0" cy="0"/>
        </a:xfrm>
      </p:grpSpPr>
      <p:sp>
        <p:nvSpPr>
          <p:cNvPr id="16" name="Text Placeholder 15" descr="2025 Tunnel Switchgear Heaving Remediation&#10;Six switchgear rooms in the East and West cores of ACON, BCON, and CCON have experienced soil heaving, causing damage to both equipment and enclosures. Additionally, ACON East and West sub-cores face significant water intrusion, impacting switchgear performance.&#10;&#10;Replace damaged switchgear and enclosures.&#10;Install new switchgear on elevated steel platforms anchored to the basement foundation to prevent future heaving impact.&#10;Construct code-compliant enclosures with fire-rated walls, fire suppression, and HVAC.&#10;Remove and replace heaved soil and repair room structures.&#10;Implement water mitigation at ACON sub-cores.&#10;&#10;KEY INFORMATION &#10;Anticipated Advertisement Date:  Q3-Q4&#10;Estimated Project Value: $10M to $49.99M&#10;Small Business Program Goal: TBD&#10;Key Scope/Industry: Electrical, Concrete, Masonry, Earthwork, Civil Utilities, Mechanical, Electrical, Plumbing&#10;Project Manager: Mark Tabugadir| mark.tabugadir@flydenver.com&#10;">
            <a:extLst>
              <a:ext uri="{FF2B5EF4-FFF2-40B4-BE49-F238E27FC236}">
                <a16:creationId xmlns:a16="http://schemas.microsoft.com/office/drawing/2014/main" id="{708C54A7-1F01-3141-A381-B88FFB0B5B7E}"/>
              </a:ext>
            </a:extLst>
          </p:cNvPr>
          <p:cNvSpPr>
            <a:spLocks noGrp="1"/>
          </p:cNvSpPr>
          <p:nvPr>
            <p:ph type="title" idx="4294967295"/>
          </p:nvPr>
        </p:nvSpPr>
        <p:spPr>
          <a:xfrm>
            <a:off x="703950" y="456072"/>
            <a:ext cx="11066462"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2800">
                <a:solidFill>
                  <a:srgbClr val="440099"/>
                </a:solidFill>
                <a:latin typeface="+mn-lt"/>
                <a:ea typeface="+mn-ea"/>
                <a:cs typeface="+mn-cs"/>
              </a:rPr>
              <a:t>DEN Security Services - Regulatory Services</a:t>
            </a:r>
          </a:p>
        </p:txBody>
      </p:sp>
      <p:sp>
        <p:nvSpPr>
          <p:cNvPr id="3" name="TextBox 2">
            <a:extLst>
              <a:ext uri="{FF2B5EF4-FFF2-40B4-BE49-F238E27FC236}">
                <a16:creationId xmlns:a16="http://schemas.microsoft.com/office/drawing/2014/main" id="{933D787F-EA06-8600-48A2-BE172F6F2351}"/>
              </a:ext>
              <a:ext uri="{C183D7F6-B498-43B3-948B-1728B52AA6E4}">
                <adec:decorative xmlns:adec="http://schemas.microsoft.com/office/drawing/2017/decorative" val="0"/>
              </a:ext>
            </a:extLst>
          </p:cNvPr>
          <p:cNvSpPr txBox="1"/>
          <p:nvPr/>
        </p:nvSpPr>
        <p:spPr>
          <a:xfrm>
            <a:off x="769069" y="1507647"/>
            <a:ext cx="10653861" cy="2862322"/>
          </a:xfrm>
          <a:prstGeom prst="rect">
            <a:avLst/>
          </a:prstGeom>
          <a:noFill/>
        </p:spPr>
        <p:txBody>
          <a:bodyPr wrap="square" lIns="91440" tIns="45720" rIns="91440" bIns="45720" anchor="t">
            <a:spAutoFit/>
          </a:bodyPr>
          <a:lstStyle/>
          <a:p>
            <a:r>
              <a:rPr lang="en-US">
                <a:ea typeface="+mn-lt"/>
                <a:cs typeface="+mn-lt"/>
              </a:rPr>
              <a:t>Security guard services at DEN providing 24/7 vehicle and perimeter gate access control, vendor delivery inspections, employee screening, patrols, alarm response, incident resolution, credential verification, construction security, and regulatory compliance, with a staff of over 450+.</a:t>
            </a:r>
            <a:endParaRPr lang="en-US"/>
          </a:p>
          <a:p>
            <a:endParaRPr lang="en-US" b="1">
              <a:solidFill>
                <a:prstClr val="black"/>
              </a:solidFill>
              <a:cs typeface="Calibri"/>
            </a:endParaRPr>
          </a:p>
          <a:p>
            <a:r>
              <a:rPr kumimoji="0" lang="en-US" b="1" i="0" u="none" strike="noStrike" kern="1200" cap="none" spc="0" normalizeH="0" baseline="0" noProof="0">
                <a:ln>
                  <a:noFill/>
                </a:ln>
                <a:solidFill>
                  <a:prstClr val="black"/>
                </a:solidFill>
                <a:effectLst/>
                <a:uLnTx/>
                <a:uFillTx/>
                <a:ea typeface="+mn-ea"/>
                <a:cs typeface="Calibri"/>
              </a:rPr>
              <a:t>KEY INFORMATION </a:t>
            </a:r>
            <a:endParaRPr kumimoji="0" lang="en-US" b="1" i="0" u="none" strike="noStrike" kern="1200" cap="none" spc="0" normalizeH="0" baseline="0" noProof="0">
              <a:ln>
                <a:noFill/>
              </a:ln>
              <a:solidFill>
                <a:prstClr val="black"/>
              </a:solidFill>
              <a:effectLst/>
              <a:uLnTx/>
              <a:uFillTx/>
              <a:ea typeface="Calibri"/>
              <a:cs typeface="Calibri"/>
            </a:endParaRPr>
          </a:p>
          <a:p>
            <a:pPr>
              <a:defRPr/>
            </a:pPr>
            <a:r>
              <a:rPr kumimoji="0" lang="en-US" b="1" i="0" u="none" strike="noStrike" kern="1200" cap="none" spc="0" normalizeH="0" baseline="0" noProof="0">
                <a:ln>
                  <a:noFill/>
                </a:ln>
                <a:solidFill>
                  <a:prstClr val="black"/>
                </a:solidFill>
                <a:effectLst/>
                <a:uLnTx/>
                <a:uFillTx/>
                <a:ea typeface="+mn-ea"/>
                <a:cs typeface="Calibri"/>
              </a:rPr>
              <a:t>Anticipated Advertisement Date: </a:t>
            </a:r>
            <a:r>
              <a:rPr kumimoji="0" lang="en-US" b="0" i="0" u="none" strike="noStrike" kern="1200" cap="none" spc="0" normalizeH="0" baseline="0" noProof="0">
                <a:ln>
                  <a:noFill/>
                </a:ln>
                <a:solidFill>
                  <a:prstClr val="black"/>
                </a:solidFill>
                <a:effectLst/>
                <a:uLnTx/>
                <a:uFillTx/>
                <a:ea typeface="+mn-ea"/>
                <a:cs typeface="Calibri"/>
              </a:rPr>
              <a:t> </a:t>
            </a:r>
            <a:r>
              <a:rPr lang="en-US">
                <a:solidFill>
                  <a:prstClr val="black"/>
                </a:solidFill>
                <a:cs typeface="Calibri"/>
              </a:rPr>
              <a:t>July 2026</a:t>
            </a:r>
            <a:endParaRPr kumimoji="0" lang="en-US" b="0" i="0" u="none" strike="noStrike" kern="1200" cap="none" spc="0" normalizeH="0" baseline="0" noProof="0">
              <a:ln>
                <a:noFill/>
              </a:ln>
              <a:solidFill>
                <a:prstClr val="black"/>
              </a:solidFill>
              <a:effectLst/>
              <a:uLnTx/>
              <a:uFillTx/>
              <a:ea typeface="Calibri"/>
              <a:cs typeface="Calibri"/>
            </a:endParaRPr>
          </a:p>
          <a:p>
            <a:pPr>
              <a:defRPr/>
            </a:pPr>
            <a:r>
              <a:rPr kumimoji="0" lang="en-US" b="1" i="0" u="none" strike="noStrike" kern="1200" cap="none" spc="0" normalizeH="0" baseline="0" noProof="0">
                <a:ln>
                  <a:noFill/>
                </a:ln>
                <a:solidFill>
                  <a:prstClr val="black"/>
                </a:solidFill>
                <a:effectLst/>
                <a:uLnTx/>
                <a:uFillTx/>
                <a:ea typeface="+mn-ea"/>
                <a:cs typeface="Calibri"/>
              </a:rPr>
              <a:t>Estimated Project Value: </a:t>
            </a:r>
            <a:r>
              <a:rPr lang="en-US">
                <a:solidFill>
                  <a:prstClr val="black"/>
                </a:solidFill>
                <a:ea typeface="+mn-lt"/>
                <a:cs typeface="+mn-lt"/>
              </a:rPr>
              <a:t>$175M+</a:t>
            </a:r>
            <a:endParaRPr lang="en-US">
              <a:solidFill>
                <a:prstClr val="black"/>
              </a:solidFill>
              <a:ea typeface="Calibri"/>
              <a:cs typeface="Calibri"/>
            </a:endParaRPr>
          </a:p>
          <a:p>
            <a:pPr>
              <a:defRPr/>
            </a:pPr>
            <a:r>
              <a:rPr lang="en-US" b="1">
                <a:solidFill>
                  <a:prstClr val="black"/>
                </a:solidFill>
                <a:ea typeface="Calibri"/>
                <a:cs typeface="Calibri"/>
              </a:rPr>
              <a:t>Key Scope: </a:t>
            </a:r>
            <a:r>
              <a:rPr lang="en-US">
                <a:solidFill>
                  <a:prstClr val="black"/>
                </a:solidFill>
                <a:ea typeface="+mn-lt"/>
                <a:cs typeface="+mn-lt"/>
              </a:rPr>
              <a:t>Security Guards</a:t>
            </a:r>
          </a:p>
          <a:p>
            <a:pPr>
              <a:defRPr/>
            </a:pPr>
            <a:r>
              <a:rPr lang="en-US" b="1">
                <a:solidFill>
                  <a:prstClr val="black"/>
                </a:solidFill>
                <a:ea typeface="Calibri"/>
                <a:cs typeface="Calibri"/>
              </a:rPr>
              <a:t>Small Business Program Goal: </a:t>
            </a:r>
            <a:r>
              <a:rPr lang="en-US">
                <a:solidFill>
                  <a:prstClr val="black"/>
                </a:solidFill>
                <a:ea typeface="Calibri"/>
                <a:cs typeface="Calibri"/>
              </a:rPr>
              <a:t>6% MWBE</a:t>
            </a:r>
          </a:p>
          <a:p>
            <a:pPr>
              <a:defRPr/>
            </a:pPr>
            <a:r>
              <a:rPr lang="en-US" b="1">
                <a:solidFill>
                  <a:prstClr val="black"/>
                </a:solidFill>
                <a:ea typeface="Calibri"/>
                <a:cs typeface="Calibri"/>
              </a:rPr>
              <a:t>Project Manager: </a:t>
            </a:r>
            <a:r>
              <a:rPr lang="en-US">
                <a:solidFill>
                  <a:prstClr val="black"/>
                </a:solidFill>
                <a:ea typeface="Calibri"/>
                <a:cs typeface="Calibri"/>
              </a:rPr>
              <a:t>Matt Gomez-Peterson| </a:t>
            </a:r>
            <a:r>
              <a:rPr lang="en-US">
                <a:solidFill>
                  <a:prstClr val="black"/>
                </a:solidFill>
                <a:ea typeface="Calibri"/>
                <a:cs typeface="Calibri"/>
                <a:hlinkClick r:id="rId3">
                  <a:extLst>
                    <a:ext uri="{A12FA001-AC4F-418D-AE19-62706E023703}">
                      <ahyp:hlinkClr xmlns:ahyp="http://schemas.microsoft.com/office/drawing/2018/hyperlinkcolor" val="tx"/>
                    </a:ext>
                  </a:extLst>
                </a:hlinkClick>
              </a:rPr>
              <a:t>matthew.gomez-peterson@flydenver.com</a:t>
            </a:r>
            <a:r>
              <a:rPr lang="en-US">
                <a:solidFill>
                  <a:prstClr val="black"/>
                </a:solidFill>
                <a:ea typeface="Calibri"/>
                <a:cs typeface="Calibri"/>
              </a:rPr>
              <a:t>  </a:t>
            </a:r>
            <a:endParaRPr lang="en-US">
              <a:solidFill>
                <a:prstClr val="black"/>
              </a:solidFill>
            </a:endParaRPr>
          </a:p>
        </p:txBody>
      </p:sp>
    </p:spTree>
    <p:extLst>
      <p:ext uri="{BB962C8B-B14F-4D97-AF65-F5344CB8AC3E}">
        <p14:creationId xmlns:p14="http://schemas.microsoft.com/office/powerpoint/2010/main" val="36976532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A6FB7B-F610-1ECE-295D-94F5D095147D}"/>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5C7398A0-E4F5-6F28-F492-EF00763CC4B0}"/>
              </a:ext>
            </a:extLst>
          </p:cNvPr>
          <p:cNvSpPr>
            <a:spLocks noGrp="1"/>
          </p:cNvSpPr>
          <p:nvPr>
            <p:ph type="title" idx="4294967295"/>
          </p:nvPr>
        </p:nvSpPr>
        <p:spPr>
          <a:xfrm>
            <a:off x="2359839" y="1040045"/>
            <a:ext cx="8694737" cy="1189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ea typeface="+mj-lt"/>
                <a:cs typeface="+mj-lt"/>
              </a:rPr>
              <a:t>Enterprise Analytics &amp; Measurement Services</a:t>
            </a:r>
            <a:br>
              <a:rPr lang="en-US" sz="3600" b="0" i="0" u="none" strike="noStrike" kern="1200" cap="none" spc="0" normalizeH="0" baseline="0" noProof="0">
                <a:ln>
                  <a:noFill/>
                </a:ln>
                <a:effectLst/>
                <a:uLnTx/>
                <a:uFillTx/>
                <a:latin typeface="Calibri Light"/>
                <a:ea typeface="Calibri Light"/>
                <a:cs typeface="Calibri Light"/>
              </a:rPr>
            </a:br>
            <a:r>
              <a:rPr lang="en-US" sz="3600">
                <a:solidFill>
                  <a:schemeClr val="bg1"/>
                </a:solidFill>
                <a:ea typeface="Calibri Light"/>
                <a:cs typeface="Calibri Light"/>
              </a:rPr>
              <a:t> </a:t>
            </a:r>
            <a:endParaRPr lang="en-US" sz="3600" b="0" i="0" u="none" strike="noStrike" kern="1200" cap="none" spc="0" normalizeH="0" baseline="0" noProof="0">
              <a:ln>
                <a:noFill/>
              </a:ln>
              <a:solidFill>
                <a:schemeClr val="bg1"/>
              </a:solidFill>
              <a:effectLst/>
              <a:uLnTx/>
              <a:uFillTx/>
              <a:latin typeface="+mn-lt"/>
              <a:ea typeface="Calibri"/>
              <a:cs typeface="Calibri"/>
            </a:endParaRPr>
          </a:p>
        </p:txBody>
      </p:sp>
    </p:spTree>
    <p:extLst>
      <p:ext uri="{BB962C8B-B14F-4D97-AF65-F5344CB8AC3E}">
        <p14:creationId xmlns:p14="http://schemas.microsoft.com/office/powerpoint/2010/main" val="29228513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8269D7-06FB-2DF0-E010-65430CEF8DFD}"/>
            </a:ext>
          </a:extLst>
        </p:cNvPr>
        <p:cNvGrpSpPr/>
        <p:nvPr/>
      </p:nvGrpSpPr>
      <p:grpSpPr>
        <a:xfrm>
          <a:off x="0" y="0"/>
          <a:ext cx="0" cy="0"/>
          <a:chOff x="0" y="0"/>
          <a:chExt cx="0" cy="0"/>
        </a:xfrm>
      </p:grpSpPr>
      <p:sp>
        <p:nvSpPr>
          <p:cNvPr id="16" name="Text Placeholder 15" descr="2025 Tunnel Switchgear Heaving Remediation&#10;Six switchgear rooms in the East and West cores of ACON, BCON, and CCON have experienced soil heaving, causing damage to both equipment and enclosures. Additionally, ACON East and West sub-cores face significant water intrusion, impacting switchgear performance.&#10;&#10;Replace damaged switchgear and enclosures.&#10;Install new switchgear on elevated steel platforms anchored to the basement foundation to prevent future heaving impact.&#10;Construct code-compliant enclosures with fire-rated walls, fire suppression, and HVAC.&#10;Remove and replace heaved soil and repair room structures.&#10;Implement water mitigation at ACON sub-cores.&#10;&#10;KEY INFORMATION &#10;Anticipated Advertisement Date:  Q3-Q4&#10;Estimated Project Value: $10M to $49.99M&#10;Small Business Program Goal: TBD&#10;Key Scope/Industry: Electrical, Concrete, Masonry, Earthwork, Civil Utilities, Mechanical, Electrical, Plumbing&#10;Project Manager: Mark Tabugadir| mark.tabugadir@flydenver.com&#10;">
            <a:extLst>
              <a:ext uri="{FF2B5EF4-FFF2-40B4-BE49-F238E27FC236}">
                <a16:creationId xmlns:a16="http://schemas.microsoft.com/office/drawing/2014/main" id="{5AA7790C-89E5-C412-0D03-59FDD32FCA59}"/>
              </a:ext>
            </a:extLst>
          </p:cNvPr>
          <p:cNvSpPr>
            <a:spLocks noGrp="1"/>
          </p:cNvSpPr>
          <p:nvPr>
            <p:ph type="title" idx="4294967295"/>
          </p:nvPr>
        </p:nvSpPr>
        <p:spPr>
          <a:xfrm>
            <a:off x="703950" y="456072"/>
            <a:ext cx="11066462"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2800">
                <a:solidFill>
                  <a:srgbClr val="440099"/>
                </a:solidFill>
                <a:latin typeface="+mn-lt"/>
                <a:ea typeface="+mn-ea"/>
                <a:cs typeface="+mn-cs"/>
              </a:rPr>
              <a:t>Enterprise Analytics &amp; Measurement Services</a:t>
            </a:r>
          </a:p>
        </p:txBody>
      </p:sp>
      <p:sp>
        <p:nvSpPr>
          <p:cNvPr id="3" name="TextBox 2">
            <a:extLst>
              <a:ext uri="{FF2B5EF4-FFF2-40B4-BE49-F238E27FC236}">
                <a16:creationId xmlns:a16="http://schemas.microsoft.com/office/drawing/2014/main" id="{21155BEA-403E-9B36-3AA4-30359691A702}"/>
              </a:ext>
              <a:ext uri="{C183D7F6-B498-43B3-948B-1728B52AA6E4}">
                <adec:decorative xmlns:adec="http://schemas.microsoft.com/office/drawing/2017/decorative" val="0"/>
              </a:ext>
            </a:extLst>
          </p:cNvPr>
          <p:cNvSpPr txBox="1"/>
          <p:nvPr/>
        </p:nvSpPr>
        <p:spPr>
          <a:xfrm>
            <a:off x="546044" y="1191696"/>
            <a:ext cx="10653861" cy="5078313"/>
          </a:xfrm>
          <a:prstGeom prst="rect">
            <a:avLst/>
          </a:prstGeom>
          <a:noFill/>
        </p:spPr>
        <p:txBody>
          <a:bodyPr wrap="square" lIns="91440" tIns="45720" rIns="91440" bIns="45720" anchor="t">
            <a:spAutoFit/>
          </a:bodyPr>
          <a:lstStyle/>
          <a:p>
            <a:r>
              <a:rPr lang="en-US" sz="1600">
                <a:ea typeface="+mn-lt"/>
                <a:cs typeface="+mn-lt"/>
              </a:rPr>
              <a:t>Enterprise Analytics &amp; Measurement Services (EAMS) is a multi‑award, on‑call services contract providing specialized analytics and measurement‑system expertise to support historical, real‑time, and predictive insights across airport operations and enterprise use cases.</a:t>
            </a:r>
          </a:p>
          <a:p>
            <a:endParaRPr lang="en-US" sz="1600">
              <a:solidFill>
                <a:prstClr val="black"/>
              </a:solidFill>
              <a:ea typeface="Calibri"/>
              <a:cs typeface="Calibri"/>
            </a:endParaRPr>
          </a:p>
          <a:p>
            <a:r>
              <a:rPr lang="en-US" sz="1600">
                <a:solidFill>
                  <a:prstClr val="black"/>
                </a:solidFill>
                <a:ea typeface="Calibri"/>
                <a:cs typeface="Calibri"/>
              </a:rPr>
              <a:t>Vendors may propose on one or more scope areas based on their specialization — bidding on the full scope is not required. This structure is designed to encourage participation from niche firms with deep expertise in specific disciplines. Individual task orders will vary in size based on the scope of each engagement.</a:t>
            </a:r>
          </a:p>
          <a:p>
            <a:endParaRPr lang="en-US" sz="1600">
              <a:solidFill>
                <a:prstClr val="black"/>
              </a:solidFill>
              <a:ea typeface="Calibri"/>
              <a:cs typeface="Calibri"/>
            </a:endParaRPr>
          </a:p>
          <a:p>
            <a:endParaRPr lang="en-US" sz="1600">
              <a:solidFill>
                <a:prstClr val="black"/>
              </a:solidFill>
              <a:ea typeface="Calibri"/>
              <a:cs typeface="Calibri"/>
            </a:endParaRPr>
          </a:p>
          <a:p>
            <a:r>
              <a:rPr kumimoji="0" lang="en-US" sz="1600" b="1" i="0" u="none" strike="noStrike" kern="1200" cap="none" spc="0" normalizeH="0" baseline="0" noProof="0">
                <a:ln>
                  <a:noFill/>
                </a:ln>
                <a:solidFill>
                  <a:prstClr val="black"/>
                </a:solidFill>
                <a:effectLst/>
                <a:uLnTx/>
                <a:uFillTx/>
                <a:ea typeface="+mn-ea"/>
                <a:cs typeface="Calibri"/>
              </a:rPr>
              <a:t>KEY INFORMATION </a:t>
            </a:r>
            <a:endParaRPr kumimoji="0" lang="en-US" sz="1600" b="1" i="0" u="none" strike="noStrike" kern="1200" cap="none" spc="0" normalizeH="0" baseline="0" noProof="0">
              <a:ln>
                <a:noFill/>
              </a:ln>
              <a:solidFill>
                <a:prstClr val="black"/>
              </a:solidFill>
              <a:effectLst/>
              <a:uLnTx/>
              <a:uFillTx/>
              <a:ea typeface="Calibri"/>
              <a:cs typeface="Calibri"/>
            </a:endParaRPr>
          </a:p>
          <a:p>
            <a:pPr>
              <a:defRPr/>
            </a:pPr>
            <a:r>
              <a:rPr kumimoji="0" lang="en-US" sz="1600" b="1" i="0" u="none" strike="noStrike" kern="1200" cap="none" spc="0" normalizeH="0" baseline="0" noProof="0">
                <a:ln>
                  <a:noFill/>
                </a:ln>
                <a:solidFill>
                  <a:prstClr val="black"/>
                </a:solidFill>
                <a:effectLst/>
                <a:uLnTx/>
                <a:uFillTx/>
                <a:ea typeface="+mn-ea"/>
                <a:cs typeface="Calibri"/>
              </a:rPr>
              <a:t>Anticipated Advertisement Date: </a:t>
            </a:r>
            <a:r>
              <a:rPr kumimoji="0" lang="en-US" sz="1600" b="0" i="0" u="none" strike="noStrike" kern="1200" cap="none" spc="0" normalizeH="0" baseline="0" noProof="0">
                <a:ln>
                  <a:noFill/>
                </a:ln>
                <a:solidFill>
                  <a:prstClr val="black"/>
                </a:solidFill>
                <a:effectLst/>
                <a:uLnTx/>
                <a:uFillTx/>
                <a:ea typeface="+mn-ea"/>
                <a:cs typeface="Calibri"/>
              </a:rPr>
              <a:t> </a:t>
            </a:r>
            <a:r>
              <a:rPr lang="en-US" sz="1600">
                <a:solidFill>
                  <a:prstClr val="black"/>
                </a:solidFill>
                <a:cs typeface="Calibri"/>
              </a:rPr>
              <a:t>Q2 2026</a:t>
            </a:r>
            <a:endParaRPr kumimoji="0" lang="en-US" sz="1600" b="0" i="0" u="none" strike="noStrike" kern="1200" cap="none" spc="0" normalizeH="0" baseline="0" noProof="0">
              <a:ln>
                <a:noFill/>
              </a:ln>
              <a:solidFill>
                <a:prstClr val="black"/>
              </a:solidFill>
              <a:effectLst/>
              <a:uLnTx/>
              <a:uFillTx/>
              <a:ea typeface="Calibri"/>
              <a:cs typeface="Calibri"/>
            </a:endParaRPr>
          </a:p>
          <a:p>
            <a:pPr>
              <a:defRPr/>
            </a:pPr>
            <a:r>
              <a:rPr kumimoji="0" lang="en-US" sz="1600" b="1" i="0" u="none" strike="noStrike" kern="1200" cap="none" spc="0" normalizeH="0" baseline="0" noProof="0">
                <a:ln>
                  <a:noFill/>
                </a:ln>
                <a:solidFill>
                  <a:prstClr val="black"/>
                </a:solidFill>
                <a:effectLst/>
                <a:uLnTx/>
                <a:uFillTx/>
                <a:ea typeface="+mn-ea"/>
                <a:cs typeface="Calibri"/>
              </a:rPr>
              <a:t>Estimated Project Value: </a:t>
            </a:r>
            <a:r>
              <a:rPr lang="en-US" sz="1600">
                <a:solidFill>
                  <a:prstClr val="black"/>
                </a:solidFill>
                <a:ea typeface="+mn-lt"/>
                <a:cs typeface="+mn-lt"/>
              </a:rPr>
              <a:t>$3M to $5M</a:t>
            </a:r>
          </a:p>
          <a:p>
            <a:pPr>
              <a:defRPr/>
            </a:pPr>
            <a:r>
              <a:rPr lang="en-US" sz="1600" b="1">
                <a:solidFill>
                  <a:prstClr val="black"/>
                </a:solidFill>
                <a:ea typeface="Calibri"/>
                <a:cs typeface="Calibri"/>
              </a:rPr>
              <a:t>Small Business Program Goal: TBD</a:t>
            </a:r>
            <a:endParaRPr lang="en-US" sz="1600" b="1">
              <a:solidFill>
                <a:prstClr val="black"/>
              </a:solidFill>
              <a:ea typeface="+mn-lt"/>
              <a:cs typeface="+mn-lt"/>
            </a:endParaRPr>
          </a:p>
          <a:p>
            <a:pPr>
              <a:defRPr/>
            </a:pPr>
            <a:r>
              <a:rPr lang="en-US" sz="1600" b="1">
                <a:solidFill>
                  <a:prstClr val="black"/>
                </a:solidFill>
                <a:ea typeface="Calibri"/>
                <a:cs typeface="Calibri"/>
              </a:rPr>
              <a:t>Key Scope: </a:t>
            </a:r>
            <a:endParaRPr lang="en-US" sz="1600">
              <a:solidFill>
                <a:prstClr val="black"/>
              </a:solidFill>
              <a:ea typeface="+mn-lt"/>
              <a:cs typeface="+mn-lt"/>
            </a:endParaRPr>
          </a:p>
          <a:p>
            <a:pPr>
              <a:defRPr/>
            </a:pPr>
            <a:r>
              <a:rPr lang="en-US" sz="1600">
                <a:solidFill>
                  <a:prstClr val="black"/>
                </a:solidFill>
                <a:ea typeface="+mn-lt"/>
                <a:cs typeface="+mn-lt"/>
              </a:rPr>
              <a:t>Required expertise: Data engineering; data science/predictive analytics; business intelligence/dashboard development; and measurement systems &amp; sensor analytics (e.g., CCTV/video analytics, LiDAR, IoT, Wi‑Fi/Bluetooth). Hard‑to‑recruit scopes: Senior data engineers (especially real‑time/streaming), applied data scientists, and specialists combining technical depth with airport/aviation operations experience</a:t>
            </a:r>
            <a:r>
              <a:rPr lang="en-US" sz="1600" b="1">
                <a:solidFill>
                  <a:prstClr val="black"/>
                </a:solidFill>
                <a:ea typeface="+mn-lt"/>
                <a:cs typeface="+mn-lt"/>
              </a:rPr>
              <a:t>. </a:t>
            </a:r>
          </a:p>
          <a:p>
            <a:pPr>
              <a:defRPr/>
            </a:pPr>
            <a:endParaRPr lang="en-US" sz="1600" b="1">
              <a:solidFill>
                <a:prstClr val="black"/>
              </a:solidFill>
              <a:ea typeface="Calibri"/>
              <a:cs typeface="Calibri"/>
            </a:endParaRPr>
          </a:p>
          <a:p>
            <a:pPr>
              <a:defRPr/>
            </a:pPr>
            <a:r>
              <a:rPr lang="en-US" sz="1600" b="1">
                <a:solidFill>
                  <a:prstClr val="black"/>
                </a:solidFill>
                <a:ea typeface="Calibri"/>
                <a:cs typeface="Calibri"/>
              </a:rPr>
              <a:t>Project Manager: </a:t>
            </a:r>
            <a:r>
              <a:rPr lang="en-US" sz="1600">
                <a:solidFill>
                  <a:prstClr val="black"/>
                </a:solidFill>
                <a:ea typeface="Calibri"/>
                <a:cs typeface="Calibri"/>
              </a:rPr>
              <a:t>Thomas Niland| thomas.niland@flydenver.com</a:t>
            </a:r>
            <a:endParaRPr lang="en-US" sz="1600">
              <a:solidFill>
                <a:prstClr val="black"/>
              </a:solidFill>
            </a:endParaRPr>
          </a:p>
        </p:txBody>
      </p:sp>
    </p:spTree>
    <p:extLst>
      <p:ext uri="{BB962C8B-B14F-4D97-AF65-F5344CB8AC3E}">
        <p14:creationId xmlns:p14="http://schemas.microsoft.com/office/powerpoint/2010/main" val="28253346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EF717-A562-EA09-14BC-EA2B70FB8A41}"/>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0AF362DF-7988-896D-6CF7-0FF4D7342981}"/>
              </a:ext>
            </a:extLst>
          </p:cNvPr>
          <p:cNvSpPr>
            <a:spLocks noGrp="1"/>
          </p:cNvSpPr>
          <p:nvPr>
            <p:ph type="title" idx="4294967295"/>
          </p:nvPr>
        </p:nvSpPr>
        <p:spPr>
          <a:xfrm>
            <a:off x="2405559" y="966893"/>
            <a:ext cx="9527361" cy="1189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ea typeface="+mj-lt"/>
                <a:cs typeface="+mj-lt"/>
              </a:rPr>
              <a:t>DEN Learning Management System</a:t>
            </a:r>
            <a:br>
              <a:rPr lang="en-US" sz="3600" b="0" i="0" u="none" strike="noStrike" kern="1200" cap="none" spc="0" normalizeH="0" baseline="0" noProof="0">
                <a:ln>
                  <a:noFill/>
                </a:ln>
                <a:effectLst/>
                <a:uLnTx/>
                <a:uFillTx/>
                <a:latin typeface="Calibri Light"/>
                <a:ea typeface="Calibri Light"/>
                <a:cs typeface="Calibri Light"/>
              </a:rPr>
            </a:br>
            <a:r>
              <a:rPr lang="en-US" sz="3600">
                <a:solidFill>
                  <a:schemeClr val="bg1"/>
                </a:solidFill>
                <a:ea typeface="Calibri Light"/>
                <a:cs typeface="Calibri Light"/>
              </a:rPr>
              <a:t> </a:t>
            </a:r>
            <a:endParaRPr lang="en-US" sz="3600" b="0" i="0" u="none" strike="noStrike" kern="1200" cap="none" spc="0" normalizeH="0" baseline="0" noProof="0">
              <a:ln>
                <a:noFill/>
              </a:ln>
              <a:solidFill>
                <a:schemeClr val="bg1"/>
              </a:solidFill>
              <a:effectLst/>
              <a:uLnTx/>
              <a:uFillTx/>
              <a:latin typeface="+mn-lt"/>
              <a:ea typeface="Calibri"/>
              <a:cs typeface="Calibri"/>
            </a:endParaRPr>
          </a:p>
        </p:txBody>
      </p:sp>
    </p:spTree>
    <p:extLst>
      <p:ext uri="{BB962C8B-B14F-4D97-AF65-F5344CB8AC3E}">
        <p14:creationId xmlns:p14="http://schemas.microsoft.com/office/powerpoint/2010/main" val="9478895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338BFA-9680-9B72-8ABF-20290A87CDF9}"/>
            </a:ext>
          </a:extLst>
        </p:cNvPr>
        <p:cNvGrpSpPr/>
        <p:nvPr/>
      </p:nvGrpSpPr>
      <p:grpSpPr>
        <a:xfrm>
          <a:off x="0" y="0"/>
          <a:ext cx="0" cy="0"/>
          <a:chOff x="0" y="0"/>
          <a:chExt cx="0" cy="0"/>
        </a:xfrm>
      </p:grpSpPr>
      <p:sp>
        <p:nvSpPr>
          <p:cNvPr id="16" name="Text Placeholder 15" descr="2025 Tunnel Switchgear Heaving Remediation&#10;Six switchgear rooms in the East and West cores of ACON, BCON, and CCON have experienced soil heaving, causing damage to both equipment and enclosures. Additionally, ACON East and West sub-cores face significant water intrusion, impacting switchgear performance.&#10;&#10;Replace damaged switchgear and enclosures.&#10;Install new switchgear on elevated steel platforms anchored to the basement foundation to prevent future heaving impact.&#10;Construct code-compliant enclosures with fire-rated walls, fire suppression, and HVAC.&#10;Remove and replace heaved soil and repair room structures.&#10;Implement water mitigation at ACON sub-cores.&#10;&#10;KEY INFORMATION &#10;Anticipated Advertisement Date:  Q3-Q4&#10;Estimated Project Value: $10M to $49.99M&#10;Small Business Program Goal: TBD&#10;Key Scope/Industry: Electrical, Concrete, Masonry, Earthwork, Civil Utilities, Mechanical, Electrical, Plumbing&#10;Project Manager: Mark Tabugadir| mark.tabugadir@flydenver.com&#10;">
            <a:extLst>
              <a:ext uri="{FF2B5EF4-FFF2-40B4-BE49-F238E27FC236}">
                <a16:creationId xmlns:a16="http://schemas.microsoft.com/office/drawing/2014/main" id="{E97F450F-6D57-668F-A57D-4F0CAF9FE4E5}"/>
              </a:ext>
            </a:extLst>
          </p:cNvPr>
          <p:cNvSpPr>
            <a:spLocks noGrp="1"/>
          </p:cNvSpPr>
          <p:nvPr>
            <p:ph type="title" idx="4294967295"/>
          </p:nvPr>
        </p:nvSpPr>
        <p:spPr>
          <a:xfrm>
            <a:off x="769069" y="181752"/>
            <a:ext cx="11066462"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2800" b="1">
                <a:solidFill>
                  <a:srgbClr val="440099"/>
                </a:solidFill>
                <a:ea typeface="+mj-lt"/>
                <a:cs typeface="+mj-lt"/>
              </a:rPr>
              <a:t>DEN Learning Management System Implementation, Integration, and Ongoing Support Services for FAA Part 139 Training</a:t>
            </a:r>
            <a:br>
              <a:rPr lang="en-US" sz="2800">
                <a:solidFill>
                  <a:srgbClr val="440099"/>
                </a:solidFill>
                <a:ea typeface="Calibri"/>
                <a:cs typeface="Calibri"/>
              </a:rPr>
            </a:br>
            <a:endParaRPr lang="en-US" sz="2800">
              <a:solidFill>
                <a:srgbClr val="440099"/>
              </a:solidFill>
              <a:latin typeface="+mn-lt"/>
              <a:ea typeface="+mn-ea"/>
              <a:cs typeface="+mn-cs"/>
            </a:endParaRPr>
          </a:p>
        </p:txBody>
      </p:sp>
      <p:sp>
        <p:nvSpPr>
          <p:cNvPr id="3" name="TextBox 2">
            <a:extLst>
              <a:ext uri="{FF2B5EF4-FFF2-40B4-BE49-F238E27FC236}">
                <a16:creationId xmlns:a16="http://schemas.microsoft.com/office/drawing/2014/main" id="{642EBBD7-7D69-361D-A1FD-FDB2CFD7352E}"/>
              </a:ext>
              <a:ext uri="{C183D7F6-B498-43B3-948B-1728B52AA6E4}">
                <adec:decorative xmlns:adec="http://schemas.microsoft.com/office/drawing/2017/decorative" val="0"/>
              </a:ext>
            </a:extLst>
          </p:cNvPr>
          <p:cNvSpPr txBox="1"/>
          <p:nvPr/>
        </p:nvSpPr>
        <p:spPr>
          <a:xfrm>
            <a:off x="769069" y="1507647"/>
            <a:ext cx="10653861" cy="3139321"/>
          </a:xfrm>
          <a:prstGeom prst="rect">
            <a:avLst/>
          </a:prstGeom>
          <a:noFill/>
        </p:spPr>
        <p:txBody>
          <a:bodyPr wrap="square" lIns="91440" tIns="45720" rIns="91440" bIns="45720" anchor="t">
            <a:spAutoFit/>
          </a:bodyPr>
          <a:lstStyle/>
          <a:p>
            <a:r>
              <a:rPr lang="en-US">
                <a:ea typeface="+mn-lt"/>
                <a:cs typeface="+mn-lt"/>
              </a:rPr>
              <a:t>Implement and integrate a DEN Learning Management System (LMS) to manage regulatory &amp; operational training (i.e., FAA Part 139, driver endorsements), reporting, and support. Deliverables include project plan (15 days post-NTP), configured LMS with integrations and UAT/go-live, plus ongoing maintenance and support. </a:t>
            </a:r>
          </a:p>
          <a:p>
            <a:endParaRPr lang="en-US" b="1">
              <a:solidFill>
                <a:prstClr val="black"/>
              </a:solidFill>
              <a:cs typeface="Calibri"/>
            </a:endParaRPr>
          </a:p>
          <a:p>
            <a:r>
              <a:rPr kumimoji="0" lang="en-US" b="1" i="0" u="none" strike="noStrike" kern="1200" cap="none" spc="0" normalizeH="0" baseline="0" noProof="0">
                <a:ln>
                  <a:noFill/>
                </a:ln>
                <a:solidFill>
                  <a:prstClr val="black"/>
                </a:solidFill>
                <a:effectLst/>
                <a:uLnTx/>
                <a:uFillTx/>
                <a:ea typeface="+mn-ea"/>
                <a:cs typeface="Calibri"/>
              </a:rPr>
              <a:t>KEY INFORMATION </a:t>
            </a:r>
            <a:endParaRPr kumimoji="0" lang="en-US" b="1" i="0" u="none" strike="noStrike" kern="1200" cap="none" spc="0" normalizeH="0" baseline="0" noProof="0">
              <a:ln>
                <a:noFill/>
              </a:ln>
              <a:solidFill>
                <a:prstClr val="black"/>
              </a:solidFill>
              <a:effectLst/>
              <a:uLnTx/>
              <a:uFillTx/>
              <a:ea typeface="Calibri"/>
              <a:cs typeface="Calibri"/>
            </a:endParaRPr>
          </a:p>
          <a:p>
            <a:pPr>
              <a:defRPr/>
            </a:pPr>
            <a:r>
              <a:rPr kumimoji="0" lang="en-US" b="1" i="0" u="none" strike="noStrike" kern="1200" cap="none" spc="0" normalizeH="0" baseline="0" noProof="0">
                <a:ln>
                  <a:noFill/>
                </a:ln>
                <a:solidFill>
                  <a:prstClr val="black"/>
                </a:solidFill>
                <a:effectLst/>
                <a:uLnTx/>
                <a:uFillTx/>
                <a:ea typeface="+mn-ea"/>
                <a:cs typeface="Calibri"/>
              </a:rPr>
              <a:t>Anticipated Advertisement Date: </a:t>
            </a:r>
            <a:r>
              <a:rPr kumimoji="0" lang="en-US" b="0" i="0" u="none" strike="noStrike" kern="1200" cap="none" spc="0" normalizeH="0" baseline="0" noProof="0">
                <a:ln>
                  <a:noFill/>
                </a:ln>
                <a:solidFill>
                  <a:prstClr val="black"/>
                </a:solidFill>
                <a:effectLst/>
                <a:uLnTx/>
                <a:uFillTx/>
                <a:ea typeface="+mn-ea"/>
                <a:cs typeface="Calibri"/>
              </a:rPr>
              <a:t> </a:t>
            </a:r>
            <a:r>
              <a:rPr lang="en-US">
                <a:solidFill>
                  <a:prstClr val="black"/>
                </a:solidFill>
                <a:cs typeface="Calibri"/>
              </a:rPr>
              <a:t>Q2 2026</a:t>
            </a:r>
            <a:endParaRPr kumimoji="0" lang="en-US" b="0" i="0" u="none" strike="noStrike" kern="1200" cap="none" spc="0" normalizeH="0" baseline="0" noProof="0">
              <a:ln>
                <a:noFill/>
              </a:ln>
              <a:solidFill>
                <a:prstClr val="black"/>
              </a:solidFill>
              <a:effectLst/>
              <a:uLnTx/>
              <a:uFillTx/>
              <a:ea typeface="Calibri"/>
              <a:cs typeface="Calibri"/>
            </a:endParaRPr>
          </a:p>
          <a:p>
            <a:pPr>
              <a:defRPr/>
            </a:pPr>
            <a:r>
              <a:rPr kumimoji="0" lang="en-US" b="1" i="0" u="none" strike="noStrike" kern="1200" cap="none" spc="0" normalizeH="0" baseline="0" noProof="0">
                <a:ln>
                  <a:noFill/>
                </a:ln>
                <a:solidFill>
                  <a:prstClr val="black"/>
                </a:solidFill>
                <a:effectLst/>
                <a:uLnTx/>
                <a:uFillTx/>
                <a:ea typeface="+mn-ea"/>
                <a:cs typeface="Calibri"/>
              </a:rPr>
              <a:t>Estimated Project Value: </a:t>
            </a:r>
            <a:r>
              <a:rPr lang="en-US">
                <a:solidFill>
                  <a:prstClr val="black"/>
                </a:solidFill>
                <a:ea typeface="+mn-lt"/>
                <a:cs typeface="+mn-lt"/>
              </a:rPr>
              <a:t>Less than $500K</a:t>
            </a:r>
          </a:p>
          <a:p>
            <a:pPr>
              <a:defRPr/>
            </a:pPr>
            <a:r>
              <a:rPr lang="en-US" b="1">
                <a:solidFill>
                  <a:prstClr val="black"/>
                </a:solidFill>
                <a:ea typeface="Calibri"/>
                <a:cs typeface="Calibri"/>
              </a:rPr>
              <a:t>Key Scope: </a:t>
            </a:r>
            <a:r>
              <a:rPr lang="en-US">
                <a:solidFill>
                  <a:prstClr val="black"/>
                </a:solidFill>
                <a:ea typeface="+mn-lt"/>
                <a:cs typeface="+mn-lt"/>
              </a:rPr>
              <a:t>Aviation training compliance SME (FAA Part 139), Accessibility specialist, Instructional Design/Learning Technologist (SCORM, </a:t>
            </a:r>
            <a:r>
              <a:rPr lang="en-US" err="1">
                <a:solidFill>
                  <a:prstClr val="black"/>
                </a:solidFill>
                <a:ea typeface="+mn-lt"/>
                <a:cs typeface="+mn-lt"/>
              </a:rPr>
              <a:t>xAPI</a:t>
            </a:r>
            <a:r>
              <a:rPr lang="en-US">
                <a:solidFill>
                  <a:prstClr val="black"/>
                </a:solidFill>
                <a:ea typeface="+mn-lt"/>
                <a:cs typeface="+mn-lt"/>
              </a:rPr>
              <a:t>, HTML5; ILT/VILT setup; surveys; training)</a:t>
            </a:r>
          </a:p>
          <a:p>
            <a:pPr>
              <a:defRPr/>
            </a:pPr>
            <a:r>
              <a:rPr lang="en-US" b="1">
                <a:solidFill>
                  <a:prstClr val="black"/>
                </a:solidFill>
                <a:ea typeface="Calibri"/>
                <a:cs typeface="Calibri"/>
              </a:rPr>
              <a:t>Small Business Program Goal: </a:t>
            </a:r>
            <a:r>
              <a:rPr lang="en-US">
                <a:solidFill>
                  <a:prstClr val="black"/>
                </a:solidFill>
                <a:ea typeface="Calibri"/>
                <a:cs typeface="Calibri"/>
              </a:rPr>
              <a:t>None</a:t>
            </a:r>
          </a:p>
          <a:p>
            <a:pPr>
              <a:defRPr/>
            </a:pPr>
            <a:r>
              <a:rPr lang="en-US" b="1">
                <a:solidFill>
                  <a:prstClr val="black"/>
                </a:solidFill>
                <a:ea typeface="Calibri"/>
                <a:cs typeface="Calibri"/>
              </a:rPr>
              <a:t>Project Manager: </a:t>
            </a:r>
            <a:r>
              <a:rPr lang="en-US">
                <a:solidFill>
                  <a:prstClr val="black"/>
                </a:solidFill>
                <a:ea typeface="Calibri"/>
                <a:cs typeface="Calibri"/>
              </a:rPr>
              <a:t>Tony Diaz| tony.diaz@flydenver.com</a:t>
            </a:r>
            <a:endParaRPr lang="en-US">
              <a:solidFill>
                <a:prstClr val="black"/>
              </a:solidFill>
            </a:endParaRPr>
          </a:p>
        </p:txBody>
      </p:sp>
    </p:spTree>
    <p:extLst>
      <p:ext uri="{BB962C8B-B14F-4D97-AF65-F5344CB8AC3E}">
        <p14:creationId xmlns:p14="http://schemas.microsoft.com/office/powerpoint/2010/main" val="37384046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7CF2EA-5663-2DFE-EEC5-C7A7AE5DEE1D}"/>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EAF9C898-9C0B-ABC3-698B-A7E93F680933}"/>
              </a:ext>
            </a:extLst>
          </p:cNvPr>
          <p:cNvSpPr>
            <a:spLocks noGrp="1"/>
          </p:cNvSpPr>
          <p:nvPr>
            <p:ph type="title" idx="4294967295"/>
          </p:nvPr>
        </p:nvSpPr>
        <p:spPr>
          <a:xfrm>
            <a:off x="2359839" y="1040045"/>
            <a:ext cx="8694737" cy="1189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latin typeface="Calibri Light"/>
                <a:ea typeface="Calibri Light"/>
                <a:cs typeface="Calibri Light"/>
              </a:rPr>
              <a:t>Multiple Maintenance Opportunities</a:t>
            </a:r>
            <a:br>
              <a:rPr lang="en-US" sz="3600" b="0" i="0" u="none" strike="noStrike" kern="1200" cap="none" spc="0" normalizeH="0" baseline="0" noProof="0">
                <a:ln>
                  <a:noFill/>
                </a:ln>
                <a:effectLst/>
                <a:uLnTx/>
                <a:uFillTx/>
                <a:latin typeface="Calibri Light"/>
                <a:ea typeface="Calibri Light"/>
                <a:cs typeface="Calibri Light"/>
              </a:rPr>
            </a:br>
            <a:r>
              <a:rPr lang="en-US" sz="3600">
                <a:solidFill>
                  <a:schemeClr val="bg1"/>
                </a:solidFill>
                <a:latin typeface="Calibri Light"/>
                <a:ea typeface="Calibri Light"/>
                <a:cs typeface="Calibri Light"/>
              </a:rPr>
              <a:t> </a:t>
            </a:r>
            <a:endParaRPr lang="en-US" sz="3600" b="0" i="0" u="none" strike="noStrike" kern="1200" cap="none" spc="0" normalizeH="0" baseline="0" noProof="0">
              <a:ln>
                <a:noFill/>
              </a:ln>
              <a:solidFill>
                <a:schemeClr val="bg1"/>
              </a:solidFill>
              <a:effectLst/>
              <a:uLnTx/>
              <a:uFillTx/>
              <a:latin typeface="Calibri Light"/>
              <a:ea typeface="Calibri"/>
              <a:cs typeface="Calibri"/>
            </a:endParaRPr>
          </a:p>
        </p:txBody>
      </p:sp>
    </p:spTree>
    <p:extLst>
      <p:ext uri="{BB962C8B-B14F-4D97-AF65-F5344CB8AC3E}">
        <p14:creationId xmlns:p14="http://schemas.microsoft.com/office/powerpoint/2010/main" val="42744760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4D51B-815C-925F-6BE9-1A20B109DF52}"/>
            </a:ext>
          </a:extLst>
        </p:cNvPr>
        <p:cNvGrpSpPr/>
        <p:nvPr/>
      </p:nvGrpSpPr>
      <p:grpSpPr>
        <a:xfrm>
          <a:off x="0" y="0"/>
          <a:ext cx="0" cy="0"/>
          <a:chOff x="0" y="0"/>
          <a:chExt cx="0" cy="0"/>
        </a:xfrm>
      </p:grpSpPr>
      <p:sp>
        <p:nvSpPr>
          <p:cNvPr id="16" name="Text Placeholder 15" descr="Sanitary, Stormwater, &amp; Deice Water System Underground Utility Repair Service">
            <a:extLst>
              <a:ext uri="{FF2B5EF4-FFF2-40B4-BE49-F238E27FC236}">
                <a16:creationId xmlns:a16="http://schemas.microsoft.com/office/drawing/2014/main" id="{6F28196B-146E-A03B-FEC2-27589D326F67}"/>
              </a:ext>
            </a:extLst>
          </p:cNvPr>
          <p:cNvSpPr>
            <a:spLocks noGrp="1"/>
          </p:cNvSpPr>
          <p:nvPr>
            <p:ph type="title" idx="4294967295"/>
          </p:nvPr>
        </p:nvSpPr>
        <p:spPr>
          <a:xfrm>
            <a:off x="771858" y="305863"/>
            <a:ext cx="9286542"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buFont typeface="Arial" panose="020B0604020202020204" pitchFamily="34" charset="0"/>
              <a:defRPr/>
            </a:pPr>
            <a:r>
              <a:rPr lang="en-US" sz="2800">
                <a:solidFill>
                  <a:srgbClr val="440099"/>
                </a:solidFill>
                <a:latin typeface="+mn-lt"/>
                <a:ea typeface="+mn-ea"/>
                <a:cs typeface="+mn-cs"/>
              </a:rPr>
              <a:t>DEN Security Gates Emergency Repair Services</a:t>
            </a:r>
            <a:endParaRPr lang="en-US">
              <a:ea typeface="+mn-ea"/>
              <a:cs typeface="+mn-cs"/>
            </a:endParaRPr>
          </a:p>
        </p:txBody>
      </p:sp>
      <p:sp>
        <p:nvSpPr>
          <p:cNvPr id="3" name="TextBox 2">
            <a:extLst>
              <a:ext uri="{FF2B5EF4-FFF2-40B4-BE49-F238E27FC236}">
                <a16:creationId xmlns:a16="http://schemas.microsoft.com/office/drawing/2014/main" id="{0D3BF9D1-8BCD-533E-63BA-1E4F781F8365}"/>
              </a:ext>
              <a:ext uri="{C183D7F6-B498-43B3-948B-1728B52AA6E4}">
                <adec:decorative xmlns:adec="http://schemas.microsoft.com/office/drawing/2017/decorative" val="0"/>
              </a:ext>
            </a:extLst>
          </p:cNvPr>
          <p:cNvSpPr txBox="1"/>
          <p:nvPr/>
        </p:nvSpPr>
        <p:spPr>
          <a:xfrm>
            <a:off x="771858" y="1178641"/>
            <a:ext cx="9512421" cy="6463308"/>
          </a:xfrm>
          <a:prstGeom prst="rect">
            <a:avLst/>
          </a:prstGeom>
          <a:noFill/>
        </p:spPr>
        <p:txBody>
          <a:bodyPr wrap="square" lIns="91440" tIns="45720" rIns="91440" bIns="45720" anchor="t">
            <a:spAutoFit/>
          </a:bodyPr>
          <a:lstStyle/>
          <a:p>
            <a:pPr>
              <a:defRPr/>
            </a:pPr>
            <a:r>
              <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Provide</a:t>
            </a:r>
            <a:r>
              <a:rPr lang="en-US" sz="1600">
                <a:solidFill>
                  <a:prstClr val="black"/>
                </a:solidFill>
                <a:latin typeface="Calibri" panose="020F0502020204030204"/>
                <a:ea typeface="Calibri" panose="020F0502020204030204"/>
                <a:cs typeface="Calibri" panose="020F0502020204030204"/>
              </a:rPr>
              <a:t> </a:t>
            </a:r>
            <a:r>
              <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emergency</a:t>
            </a:r>
            <a:r>
              <a:rPr lang="en-US" sz="1600">
                <a:solidFill>
                  <a:prstClr val="black"/>
                </a:solidFill>
                <a:latin typeface="Calibri" panose="020F0502020204030204"/>
                <a:ea typeface="Calibri" panose="020F0502020204030204"/>
                <a:cs typeface="Calibri" panose="020F0502020204030204"/>
              </a:rPr>
              <a:t> repair services</a:t>
            </a:r>
            <a:r>
              <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 to extend the life of DEN’s electric security gates</a:t>
            </a:r>
            <a:r>
              <a:rPr lang="en-US" sz="1600">
                <a:solidFill>
                  <a:prstClr val="black"/>
                </a:solidFill>
                <a:latin typeface="Calibri" panose="020F0502020204030204"/>
                <a:ea typeface="Calibri" panose="020F0502020204030204"/>
                <a:cs typeface="Calibri" panose="020F0502020204030204"/>
              </a:rPr>
              <a:t> </a:t>
            </a:r>
            <a:r>
              <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that may impact public safety and airport secur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Scope includes</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US"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panose="020F0502020204030204"/>
              </a:rPr>
              <a:t>Corrective</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maintenance</a:t>
            </a:r>
            <a:endParaRPr kumimoji="0" lang="en-US"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Emergency repair services</a:t>
            </a:r>
            <a:endParaRPr kumimoji="0" lang="en-US"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Gate and gate operator installation/removal</a:t>
            </a:r>
            <a:endParaRPr kumimoji="0" lang="en-US"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Troubleshooting and diagnostics</a:t>
            </a:r>
            <a:endParaRPr kumimoji="0" lang="en-US"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PLC (Programmable Logic Controller) experience required</a:t>
            </a:r>
            <a:endParaRPr kumimoji="0" lang="en-US"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Qualifications:</a:t>
            </a:r>
            <a:endParaRPr kumimoji="0" lang="en-US" sz="1600" b="1"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Provide personnel skilled in diagnosing technical issues with complex gate system</a:t>
            </a:r>
            <a:endParaRPr kumimoji="0" lang="en-US"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Familiarization with DEN's preferred manufacturers for new and replacement parts</a:t>
            </a:r>
            <a:endParaRPr kumimoji="0" lang="en-US"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Calibri"/>
                <a:cs typeface="Calibri"/>
              </a:rPr>
              <a:t>KEY INFORM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Calibri"/>
                <a:cs typeface="Calibri"/>
              </a:rPr>
              <a:t>Anticipated Advertisement Date:  </a:t>
            </a:r>
            <a:r>
              <a:rPr lang="en-US" sz="1600">
                <a:solidFill>
                  <a:prstClr val="black"/>
                </a:solidFill>
                <a:latin typeface="Calibri" panose="020F0502020204030204"/>
                <a:ea typeface="Calibri"/>
                <a:cs typeface="Calibri"/>
              </a:rPr>
              <a:t>Q3</a:t>
            </a:r>
            <a:r>
              <a:rPr kumimoji="0" lang="en-US" sz="1600" b="0" i="0" u="none" strike="noStrike" kern="1200" cap="none" spc="0" normalizeH="0" baseline="0" noProof="0">
                <a:ln>
                  <a:noFill/>
                </a:ln>
                <a:solidFill>
                  <a:prstClr val="black"/>
                </a:solidFill>
                <a:effectLst/>
                <a:uLnTx/>
                <a:uFillTx/>
                <a:latin typeface="Calibri" panose="020F0502020204030204"/>
                <a:ea typeface="Calibri"/>
                <a:cs typeface="Calibri"/>
              </a:rPr>
              <a:t> 2026 </a:t>
            </a:r>
            <a:endParaRPr lang="en-US"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Calibri"/>
                <a:cs typeface="Calibri"/>
              </a:rPr>
              <a:t>Estimated Project Value: </a:t>
            </a:r>
            <a:r>
              <a:rPr kumimoji="0" lang="en-US" sz="1600" b="0" i="0" u="none" strike="noStrike" kern="1200" cap="none" spc="0" normalizeH="0" baseline="0" noProof="0">
                <a:ln>
                  <a:noFill/>
                </a:ln>
                <a:solidFill>
                  <a:prstClr val="black"/>
                </a:solidFill>
                <a:effectLst/>
                <a:uLnTx/>
                <a:uFillTx/>
                <a:latin typeface="Calibri" panose="020F0502020204030204"/>
                <a:ea typeface="Calibri"/>
                <a:cs typeface="Calibri"/>
              </a:rPr>
              <a:t>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t>
            </a:r>
            <a:r>
              <a:rPr lang="en-US" sz="1600">
                <a:solidFill>
                  <a:prstClr val="black"/>
                </a:solidFill>
                <a:latin typeface="Calibri" panose="020F0502020204030204"/>
              </a:rPr>
              <a:t>500K</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to </a:t>
            </a:r>
            <a:r>
              <a:rPr lang="en-US" sz="1600">
                <a:solidFill>
                  <a:prstClr val="black"/>
                </a:solidFill>
                <a:latin typeface="Calibri" panose="020F0502020204030204"/>
              </a:rPr>
              <a:t>$1.99M</a:t>
            </a:r>
            <a:endParaRPr kumimoji="0" lang="en-US"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a:defRPr/>
            </a:pPr>
            <a:r>
              <a:rPr kumimoji="0" lang="en-US" sz="1600" b="1" i="0" u="none" strike="noStrike" kern="1200" cap="none" spc="0" normalizeH="0" baseline="0" noProof="0">
                <a:ln>
                  <a:noFill/>
                </a:ln>
                <a:solidFill>
                  <a:prstClr val="black"/>
                </a:solidFill>
                <a:effectLst/>
                <a:uLnTx/>
                <a:uFillTx/>
                <a:latin typeface="Calibri" panose="020F0502020204030204"/>
                <a:ea typeface="Calibri"/>
                <a:cs typeface="Calibri"/>
              </a:rPr>
              <a:t>Small Business Program Goal: </a:t>
            </a:r>
            <a:r>
              <a:rPr lang="en-US" sz="1600" b="1">
                <a:solidFill>
                  <a:prstClr val="black"/>
                </a:solidFill>
                <a:latin typeface="Calibri" panose="020F0502020204030204"/>
                <a:ea typeface="Calibri"/>
                <a:cs typeface="Calibri"/>
              </a:rPr>
              <a:t>No Goal</a:t>
            </a:r>
            <a:endParaRPr lang="en-US" sz="1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Calibri"/>
                <a:cs typeface="Calibri"/>
              </a:rPr>
              <a:t>Key Industry:</a:t>
            </a:r>
            <a:r>
              <a:rPr kumimoji="0" lang="en-US" sz="1600" b="0" i="0" u="none" strike="noStrike" kern="1200" cap="none" spc="0" normalizeH="0" baseline="0" noProof="0">
                <a:ln>
                  <a:noFill/>
                </a:ln>
                <a:solidFill>
                  <a:prstClr val="black"/>
                </a:solidFill>
                <a:effectLst/>
                <a:uLnTx/>
                <a:uFillTx/>
                <a:latin typeface="Calibri" panose="020F0502020204030204"/>
                <a:ea typeface="Calibri"/>
                <a:cs typeface="Calibri"/>
              </a:rPr>
              <a:t> Mechanical, Welding, Logical Programming (PLC Technicians), Electrical, Emergency Services/Rapid Response </a:t>
            </a:r>
          </a:p>
          <a:p>
            <a:pPr>
              <a:defRPr/>
            </a:pPr>
            <a:endParaRPr lang="en-US" sz="1600" b="1">
              <a:solidFill>
                <a:prstClr val="black"/>
              </a:solidFill>
              <a:latin typeface="Calibri" panose="020F0502020204030204"/>
              <a:ea typeface="Calibri"/>
              <a:cs typeface="Calibri"/>
            </a:endParaRPr>
          </a:p>
          <a:p>
            <a:pPr>
              <a:defRPr/>
            </a:pPr>
            <a:r>
              <a:rPr lang="en-US" sz="1600" b="1">
                <a:solidFill>
                  <a:prstClr val="black"/>
                </a:solidFill>
                <a:latin typeface="Calibri" panose="020F0502020204030204"/>
                <a:ea typeface="Calibri"/>
                <a:cs typeface="Calibri"/>
              </a:rPr>
              <a:t>Project</a:t>
            </a:r>
            <a:r>
              <a:rPr kumimoji="0" lang="en-US" sz="1600" b="1" i="0" u="none" strike="noStrike" kern="1200" cap="none" spc="0" normalizeH="0" baseline="0" noProof="0">
                <a:ln>
                  <a:noFill/>
                </a:ln>
                <a:solidFill>
                  <a:prstClr val="black"/>
                </a:solidFill>
                <a:effectLst/>
                <a:uLnTx/>
                <a:uFillTx/>
                <a:latin typeface="Calibri" panose="020F0502020204030204"/>
                <a:ea typeface="Calibri"/>
                <a:cs typeface="Calibri"/>
              </a:rPr>
              <a:t> Manager​: </a:t>
            </a:r>
            <a:r>
              <a:rPr lang="en-US" sz="1600">
                <a:solidFill>
                  <a:prstClr val="black"/>
                </a:solidFill>
                <a:latin typeface="Calibri" panose="020F0502020204030204"/>
                <a:ea typeface="Calibri"/>
                <a:cs typeface="Calibri"/>
              </a:rPr>
              <a:t>Cara</a:t>
            </a:r>
            <a:r>
              <a:rPr kumimoji="0" lang="en-US" sz="1600" b="0" i="0" u="none" strike="noStrike" kern="1200" cap="none" spc="0" normalizeH="0" baseline="0" noProof="0">
                <a:ln>
                  <a:noFill/>
                </a:ln>
                <a:solidFill>
                  <a:prstClr val="black"/>
                </a:solidFill>
                <a:effectLst/>
                <a:uLnTx/>
                <a:uFillTx/>
                <a:latin typeface="Calibri" panose="020F0502020204030204"/>
                <a:ea typeface="Calibri"/>
                <a:cs typeface="Calibri"/>
              </a:rPr>
              <a:t> </a:t>
            </a:r>
            <a:r>
              <a:rPr lang="en-US" sz="1600">
                <a:solidFill>
                  <a:prstClr val="black"/>
                </a:solidFill>
                <a:latin typeface="Calibri" panose="020F0502020204030204"/>
                <a:ea typeface="Calibri"/>
                <a:cs typeface="Calibri"/>
              </a:rPr>
              <a:t>James </a:t>
            </a:r>
            <a:r>
              <a:rPr kumimoji="0" lang="en-US" sz="1600" b="1" i="0" u="none" strike="noStrike" kern="1200" cap="none" spc="0" normalizeH="0" baseline="0" noProof="0">
                <a:ln>
                  <a:noFill/>
                </a:ln>
                <a:solidFill>
                  <a:prstClr val="black"/>
                </a:solidFill>
                <a:effectLst/>
                <a:uLnTx/>
                <a:uFillTx/>
                <a:latin typeface="Calibri" panose="020F0502020204030204"/>
                <a:ea typeface="Calibri"/>
                <a:cs typeface="Calibri"/>
              </a:rPr>
              <a:t>| </a:t>
            </a:r>
            <a:r>
              <a:rPr lang="en-US" sz="1600">
                <a:solidFill>
                  <a:srgbClr val="323130"/>
                </a:solidFill>
                <a:latin typeface="Calibri" panose="020F0502020204030204"/>
                <a:ea typeface="Calibri"/>
                <a:cs typeface="Calibri"/>
                <a:hlinkClick r:id="rId3"/>
              </a:rPr>
              <a:t>Cara.James</a:t>
            </a:r>
            <a:r>
              <a:rPr kumimoji="0" lang="en-US" sz="1600" b="0" i="0" u="none" strike="noStrike" kern="1200" cap="none" spc="0" normalizeH="0" baseline="0" noProof="0">
                <a:ln>
                  <a:noFill/>
                </a:ln>
                <a:solidFill>
                  <a:srgbClr val="323130"/>
                </a:solidFill>
                <a:effectLst/>
                <a:uLnTx/>
                <a:uFillTx/>
                <a:latin typeface="Calibri" panose="020F0502020204030204"/>
                <a:ea typeface="Calibri"/>
                <a:cs typeface="Calibri"/>
                <a:hlinkClick r:id="rId3"/>
              </a:rPr>
              <a:t>@flydenver.com</a:t>
            </a:r>
            <a:endParaRPr lang="en-US">
              <a:hlinkClick r:id="rId3"/>
            </a:endParaRPr>
          </a:p>
          <a:p>
            <a:pPr>
              <a:defRPr/>
            </a:pPr>
            <a:endParaRPr lang="en-US" sz="1600" b="0" i="0" u="none" strike="noStrike" kern="1200" cap="none" spc="0" normalizeH="0" baseline="0" noProof="0">
              <a:ln>
                <a:noFill/>
              </a:ln>
              <a:solidFill>
                <a:srgbClr val="000000"/>
              </a:solidFill>
              <a:effectLst/>
              <a:uLnTx/>
              <a:uFillTx/>
              <a:latin typeface="Calibri" panose="020F0502020204030204"/>
              <a:ea typeface="Calibri"/>
              <a:cs typeface="Calibri"/>
            </a:endParaRPr>
          </a:p>
          <a:p>
            <a:pPr marL="0" marR="0" lvl="0" indent="0" algn="l" defTabSz="914400">
              <a:lnSpc>
                <a:spcPct val="100000"/>
              </a:lnSpc>
              <a:spcBef>
                <a:spcPts val="0"/>
              </a:spcBef>
              <a:spcAft>
                <a:spcPts val="0"/>
              </a:spcAft>
              <a:buClrTx/>
              <a:buSzTx/>
              <a:buFontTx/>
              <a:buNone/>
              <a:tabLst/>
              <a:defRPr/>
            </a:pPr>
            <a:endParaRPr lang="en-US" sz="1600" b="0" i="0" u="none" strike="noStrike" kern="1200" cap="none" spc="0" normalizeH="0" baseline="0" noProof="0">
              <a:ln>
                <a:noFill/>
              </a:ln>
              <a:solidFill>
                <a:srgbClr val="000000"/>
              </a:solidFill>
              <a:effectLst/>
              <a:uLnTx/>
              <a:uFillTx/>
              <a:latin typeface="Calibri" panose="020F0502020204030204"/>
              <a:ea typeface="Calibri"/>
              <a:cs typeface="Calibri"/>
            </a:endParaRPr>
          </a:p>
          <a:p>
            <a:pPr>
              <a:defRPr/>
            </a:pPr>
            <a:endParaRPr lang="en-US" sz="1600">
              <a:solidFill>
                <a:srgbClr val="323130"/>
              </a:solidFill>
              <a:latin typeface="Calibri" panose="020F0502020204030204"/>
              <a:ea typeface="Calibri"/>
              <a:cs typeface="Calibri"/>
            </a:endParaRPr>
          </a:p>
          <a:p>
            <a:pPr>
              <a:defRPr/>
            </a:pPr>
            <a:endParaRPr lang="en-US" sz="1400">
              <a:solidFill>
                <a:srgbClr val="323130"/>
              </a:solidFill>
              <a:latin typeface="Calibri" panose="020F0502020204030204"/>
              <a:ea typeface="Calibri"/>
              <a:cs typeface="Calibri"/>
            </a:endParaRPr>
          </a:p>
        </p:txBody>
      </p:sp>
    </p:spTree>
    <p:extLst>
      <p:ext uri="{BB962C8B-B14F-4D97-AF65-F5344CB8AC3E}">
        <p14:creationId xmlns:p14="http://schemas.microsoft.com/office/powerpoint/2010/main" val="33663434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descr="Who’s in the Audience&#10;&#10;Please take a few minutes to introduce yourself, describe your company, and specify the projects you are interested in. This information will be shared with all attendees in a follow-up email, which will also include the registration list and presentations. Additionally, it will be posted on our website at www.flydenver.com/business-and-community/commerce-hub/outreach-and-engagement/#pastevents &#10;&#10;Go to https://forms.office.com/r/vb1nJEvmxH&#10;">
            <a:extLst>
              <a:ext uri="{FF2B5EF4-FFF2-40B4-BE49-F238E27FC236}">
                <a16:creationId xmlns:a16="http://schemas.microsoft.com/office/drawing/2014/main" id="{90003090-4EA3-A38E-7DF8-853A56FC6CCD}"/>
              </a:ext>
              <a:ext uri="{C183D7F6-B498-43B3-948B-1728B52AA6E4}">
                <adec:decorative xmlns:adec="http://schemas.microsoft.com/office/drawing/2017/decorative" val="0"/>
              </a:ext>
            </a:extLst>
          </p:cNvPr>
          <p:cNvSpPr>
            <a:spLocks noGrp="1"/>
          </p:cNvSpPr>
          <p:nvPr>
            <p:ph type="title" idx="4294967295"/>
          </p:nvPr>
        </p:nvSpPr>
        <p:spPr>
          <a:xfrm>
            <a:off x="770438" y="431214"/>
            <a:ext cx="8694738"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440099"/>
                </a:solidFill>
                <a:effectLst/>
                <a:uLnTx/>
                <a:uFillTx/>
                <a:latin typeface="+mn-lt"/>
                <a:ea typeface="+mn-ea"/>
                <a:cs typeface="+mn-cs"/>
              </a:rPr>
              <a:t>Project Interest Form</a:t>
            </a:r>
          </a:p>
        </p:txBody>
      </p:sp>
      <p:sp>
        <p:nvSpPr>
          <p:cNvPr id="3" name="TextBox 2">
            <a:extLst>
              <a:ext uri="{FF2B5EF4-FFF2-40B4-BE49-F238E27FC236}">
                <a16:creationId xmlns:a16="http://schemas.microsoft.com/office/drawing/2014/main" id="{BC4C6CC7-72F2-44FC-6D21-14DA37010207}"/>
              </a:ext>
              <a:ext uri="{C183D7F6-B498-43B3-948B-1728B52AA6E4}">
                <adec:decorative xmlns:adec="http://schemas.microsoft.com/office/drawing/2017/decorative" val="1"/>
              </a:ext>
            </a:extLst>
          </p:cNvPr>
          <p:cNvSpPr txBox="1"/>
          <p:nvPr/>
        </p:nvSpPr>
        <p:spPr>
          <a:xfrm>
            <a:off x="770438" y="1333713"/>
            <a:ext cx="9152159" cy="1200329"/>
          </a:xfrm>
          <a:prstGeom prst="rect">
            <a:avLst/>
          </a:prstGeom>
          <a:noFill/>
        </p:spPr>
        <p:txBody>
          <a:bodyPr wrap="square">
            <a:spAutoFit/>
          </a:bodyPr>
          <a:lstStyle/>
          <a:p>
            <a:r>
              <a:rPr lang="en-US"/>
              <a:t>Please take a few minutes to introduce yourself, describe your company, and specify the projects you are interested in. This information will be shared with all attendees in a follow-up email, including the registration list and presentations. Additionally, it will be posted on our website at </a:t>
            </a:r>
            <a:r>
              <a:rPr lang="en-US">
                <a:hlinkClick r:id="rId3"/>
              </a:rPr>
              <a:t>www.flydenver.com/business-and-community/outreach-and-engagement/#pastevents</a:t>
            </a:r>
            <a:r>
              <a:rPr lang="en-US"/>
              <a:t> </a:t>
            </a:r>
          </a:p>
        </p:txBody>
      </p:sp>
      <p:pic>
        <p:nvPicPr>
          <p:cNvPr id="2" name="Picture 1" descr="https://forms.office.com/r/vb1nJEvmxH">
            <a:extLst>
              <a:ext uri="{FF2B5EF4-FFF2-40B4-BE49-F238E27FC236}">
                <a16:creationId xmlns:a16="http://schemas.microsoft.com/office/drawing/2014/main" id="{2B3FAF1E-12FB-C969-44FE-218ED73644A9}"/>
              </a:ext>
            </a:extLst>
          </p:cNvPr>
          <p:cNvPicPr>
            <a:picLocks noChangeAspect="1"/>
          </p:cNvPicPr>
          <p:nvPr/>
        </p:nvPicPr>
        <p:blipFill>
          <a:blip r:embed="rId4"/>
          <a:stretch>
            <a:fillRect/>
          </a:stretch>
        </p:blipFill>
        <p:spPr>
          <a:xfrm>
            <a:off x="4719647" y="4085224"/>
            <a:ext cx="1253738" cy="1253738"/>
          </a:xfrm>
          <a:prstGeom prst="rect">
            <a:avLst/>
          </a:prstGeom>
        </p:spPr>
      </p:pic>
      <p:sp>
        <p:nvSpPr>
          <p:cNvPr id="5" name="TextBox 4">
            <a:extLst>
              <a:ext uri="{FF2B5EF4-FFF2-40B4-BE49-F238E27FC236}">
                <a16:creationId xmlns:a16="http://schemas.microsoft.com/office/drawing/2014/main" id="{AFE13467-AD9E-214E-2D05-4C9C0E5889B3}"/>
              </a:ext>
            </a:extLst>
          </p:cNvPr>
          <p:cNvSpPr txBox="1"/>
          <p:nvPr/>
        </p:nvSpPr>
        <p:spPr>
          <a:xfrm>
            <a:off x="1986599" y="3429000"/>
            <a:ext cx="6719835" cy="584775"/>
          </a:xfrm>
          <a:prstGeom prst="rect">
            <a:avLst/>
          </a:prstGeom>
          <a:noFill/>
        </p:spPr>
        <p:txBody>
          <a:bodyPr wrap="square">
            <a:spAutoFit/>
          </a:bodyPr>
          <a:lstStyle/>
          <a:p>
            <a:pPr algn="ctr"/>
            <a:r>
              <a:rPr lang="en-US" sz="3200" b="1">
                <a:solidFill>
                  <a:srgbClr val="E35B2A"/>
                </a:solidFill>
              </a:rPr>
              <a:t>Complete Your Project Interest Form</a:t>
            </a:r>
          </a:p>
        </p:txBody>
      </p:sp>
    </p:spTree>
    <p:extLst>
      <p:ext uri="{BB962C8B-B14F-4D97-AF65-F5344CB8AC3E}">
        <p14:creationId xmlns:p14="http://schemas.microsoft.com/office/powerpoint/2010/main" val="35138506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27A83-6450-DAD8-C23A-529B014C9C00}"/>
            </a:ext>
          </a:extLst>
        </p:cNvPr>
        <p:cNvGrpSpPr/>
        <p:nvPr/>
      </p:nvGrpSpPr>
      <p:grpSpPr>
        <a:xfrm>
          <a:off x="0" y="0"/>
          <a:ext cx="0" cy="0"/>
          <a:chOff x="0" y="0"/>
          <a:chExt cx="0" cy="0"/>
        </a:xfrm>
      </p:grpSpPr>
      <p:sp>
        <p:nvSpPr>
          <p:cNvPr id="16" name="Text Placeholder 15" descr="Sanitary, Stormwater, &amp; Deice Water System Underground Utility Repair Service">
            <a:extLst>
              <a:ext uri="{FF2B5EF4-FFF2-40B4-BE49-F238E27FC236}">
                <a16:creationId xmlns:a16="http://schemas.microsoft.com/office/drawing/2014/main" id="{6B87E075-F89A-47F8-BE91-3C2F06421ECB}"/>
              </a:ext>
            </a:extLst>
          </p:cNvPr>
          <p:cNvSpPr>
            <a:spLocks noGrp="1"/>
          </p:cNvSpPr>
          <p:nvPr>
            <p:ph type="title" idx="4294967295"/>
          </p:nvPr>
        </p:nvSpPr>
        <p:spPr>
          <a:xfrm>
            <a:off x="858812" y="171169"/>
            <a:ext cx="9286875"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2800">
                <a:solidFill>
                  <a:srgbClr val="440099"/>
                </a:solidFill>
                <a:latin typeface="+mn-lt"/>
                <a:ea typeface="+mn-ea"/>
                <a:cs typeface="+mn-cs"/>
              </a:rPr>
              <a:t>HVAC Coil Cleaning, Air Filter Replacement, and Preventative Maintenance</a:t>
            </a:r>
            <a:endParaRPr lang="en-US">
              <a:ea typeface="Calibri Light"/>
              <a:cs typeface="Calibri Light"/>
            </a:endParaRPr>
          </a:p>
        </p:txBody>
      </p:sp>
      <p:sp>
        <p:nvSpPr>
          <p:cNvPr id="3" name="TextBox 2" descr="DEN Operations &amp; Maintenance is seeking a qualified contractor to provide comprehensive maintenance, repair, and replacement services for onsite sanitary sewer, stormwater, and deice water piping systems. This includes areas such as retention ponds, glycol rehab treatment plants, and underground drainage infrastructure.&#10;&#10;Scope Highlights:&#10;Safety &amp; Permitting: Compliance with all safety protocols, traffic control, hazard identification, and scheduling to minimize impact to airport operations.&#10;Excavation &amp; Restoration: Utility locating, pipe repair/replacement, surface restoration, testing &amp; commissioning.&#10;Point Repairs: Abandon laterals, address root intrusion, offset joints, infiltration, cracks, and holes.&#10;​&#10;KEY INFORMATION ​&#10;Anticipated Advertisement Date:  Q3 2025 &#10;Estimated Project Value:  $5M to $9.99M&#10;Small Business Program Goal: TBD&#10;Key Scope/Industry:​  GPR (Ground-penetrating radar), Traffic Control, Power Equipment Operators, Welding, Plumbing, Pipe Assessment Management, Landscaping, Trenching &amp; Excavation, Permitting&#10;Project Manager​: Jacqueline Wilson | jacqueline.wilson@flydenver.com &#10;">
            <a:extLst>
              <a:ext uri="{FF2B5EF4-FFF2-40B4-BE49-F238E27FC236}">
                <a16:creationId xmlns:a16="http://schemas.microsoft.com/office/drawing/2014/main" id="{2D389C31-4E52-381B-C491-D1235CBB0E3C}"/>
              </a:ext>
              <a:ext uri="{C183D7F6-B498-43B3-948B-1728B52AA6E4}">
                <adec:decorative xmlns:adec="http://schemas.microsoft.com/office/drawing/2017/decorative" val="0"/>
              </a:ext>
            </a:extLst>
          </p:cNvPr>
          <p:cNvSpPr txBox="1"/>
          <p:nvPr/>
        </p:nvSpPr>
        <p:spPr>
          <a:xfrm>
            <a:off x="858812" y="1455525"/>
            <a:ext cx="9512421" cy="4247317"/>
          </a:xfrm>
          <a:prstGeom prst="rect">
            <a:avLst/>
          </a:prstGeom>
          <a:noFill/>
        </p:spPr>
        <p:txBody>
          <a:bodyPr wrap="square" lIns="91440" tIns="45720" rIns="91440" bIns="45720" anchor="t">
            <a:spAutoFit/>
          </a:bodyPr>
          <a:lstStyle/>
          <a:p>
            <a:r>
              <a:rPr lang="en-US">
                <a:ea typeface="+mn-lt"/>
                <a:cs typeface="+mn-lt"/>
              </a:rPr>
              <a:t>Denver International Airport (DEN) is seeking a qualified contractor to provide coil cleaning services, air filter replacement services, and preventative maintenance services across airport facilities for the Heating, Ventilation and Air Conditioning (HVAC) systems. Contractor to provide inspection, cleaning, and preventative maintenance services for cooling and heating coils, including condensing and evaporator coils, as well as airport-wide AHU and RTU units.</a:t>
            </a:r>
          </a:p>
          <a:p>
            <a:endParaRPr lang="en-US">
              <a:ea typeface="+mn-lt"/>
              <a:cs typeface="+mn-lt"/>
            </a:endParaRPr>
          </a:p>
          <a:p>
            <a:r>
              <a:rPr lang="en-US">
                <a:ea typeface="+mn-lt"/>
                <a:cs typeface="+mn-lt"/>
              </a:rPr>
              <a:t>These services will be performed periodically as on-call, task-based awards to support system performance, air quality, and ongoing maintenance needs.</a:t>
            </a:r>
            <a:endParaRPr lang="en-US">
              <a:ea typeface="Calibri"/>
              <a:cs typeface="Calibri"/>
            </a:endParaRPr>
          </a:p>
          <a:p>
            <a:endParaRPr lang="en-US" b="1">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ea typeface="+mn-ea"/>
                <a:cs typeface="+mn-cs"/>
              </a:rPr>
              <a:t>KEY INFORMATION ​</a:t>
            </a:r>
            <a:endParaRPr kumimoji="0" lang="en-US" b="1" i="0" u="none" strike="noStrike" kern="1200" cap="none" spc="0" normalizeH="0" baseline="0" noProof="0">
              <a:ln>
                <a:noFill/>
              </a:ln>
              <a:solidFill>
                <a:prstClr val="black"/>
              </a:solidFill>
              <a:effectLst/>
              <a:uLnTx/>
              <a:uFillTx/>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ea typeface="+mn-ea"/>
                <a:cs typeface="+mn-cs"/>
              </a:rPr>
              <a:t>Anticipated Advertisement Date:  </a:t>
            </a:r>
            <a:r>
              <a:rPr lang="en-US">
                <a:solidFill>
                  <a:prstClr val="black"/>
                </a:solidFill>
              </a:rPr>
              <a:t>Q2</a:t>
            </a:r>
            <a:r>
              <a:rPr kumimoji="0" lang="en-US" b="0" i="0" u="none" strike="noStrike" kern="1200" cap="none" spc="0" normalizeH="0" baseline="0" noProof="0">
                <a:ln>
                  <a:noFill/>
                </a:ln>
                <a:solidFill>
                  <a:prstClr val="black"/>
                </a:solidFill>
                <a:effectLst/>
                <a:uLnTx/>
                <a:uFillTx/>
                <a:ea typeface="+mn-ea"/>
                <a:cs typeface="+mn-cs"/>
              </a:rPr>
              <a:t> </a:t>
            </a:r>
            <a:r>
              <a:rPr lang="en-US">
                <a:solidFill>
                  <a:prstClr val="black"/>
                </a:solidFill>
              </a:rPr>
              <a:t>2026</a:t>
            </a:r>
            <a:endParaRPr kumimoji="0" lang="en-US" b="0" i="0" u="none" strike="noStrike" kern="1200" cap="none" spc="0" normalizeH="0" baseline="0" noProof="0">
              <a:ln>
                <a:noFill/>
              </a:ln>
              <a:solidFill>
                <a:prstClr val="black"/>
              </a:solidFill>
              <a:effectLst/>
              <a:uLnTx/>
              <a:uFillTx/>
              <a:ea typeface="Calibri"/>
              <a:cs typeface="Calibri"/>
            </a:endParaRPr>
          </a:p>
          <a:p>
            <a:pPr>
              <a:defRPr/>
            </a:pPr>
            <a:r>
              <a:rPr kumimoji="0" lang="en-US" b="1" i="0" u="none" strike="noStrike" kern="1200" cap="none" spc="0" normalizeH="0" baseline="0" noProof="0">
                <a:ln>
                  <a:noFill/>
                </a:ln>
                <a:solidFill>
                  <a:prstClr val="black"/>
                </a:solidFill>
                <a:effectLst/>
                <a:uLnTx/>
                <a:uFillTx/>
                <a:ea typeface="+mn-ea"/>
                <a:cs typeface="+mn-cs"/>
              </a:rPr>
              <a:t>Estimated Project Value: </a:t>
            </a:r>
            <a:r>
              <a:rPr lang="en-US">
                <a:solidFill>
                  <a:prstClr val="black"/>
                </a:solidFill>
              </a:rPr>
              <a:t>$10M to $49.99M</a:t>
            </a:r>
            <a:endParaRPr lang="en-US">
              <a:solidFill>
                <a:prstClr val="black"/>
              </a:solidFill>
              <a:ea typeface="Calibri"/>
              <a:cs typeface="Calibri"/>
            </a:endParaRPr>
          </a:p>
          <a:p>
            <a:pPr>
              <a:defRPr/>
            </a:pPr>
            <a:r>
              <a:rPr kumimoji="0" lang="en-US" b="1" i="0" u="none" strike="noStrike" kern="1200" cap="none" spc="0" normalizeH="0" baseline="0" noProof="0">
                <a:ln>
                  <a:noFill/>
                </a:ln>
                <a:solidFill>
                  <a:prstClr val="black"/>
                </a:solidFill>
                <a:effectLst/>
                <a:uLnTx/>
                <a:uFillTx/>
                <a:ea typeface="+mn-ea"/>
                <a:cs typeface="+mn-cs"/>
              </a:rPr>
              <a:t>Small Business Program Goal: </a:t>
            </a:r>
            <a:r>
              <a:rPr lang="en-US">
                <a:solidFill>
                  <a:prstClr val="black"/>
                </a:solidFill>
              </a:rPr>
              <a:t>7% MWBE</a:t>
            </a:r>
            <a:endParaRPr lang="en-US" i="0" u="none" strike="noStrike" kern="1200" cap="none" spc="0" normalizeH="0" baseline="0" noProof="0">
              <a:ln>
                <a:noFill/>
              </a:ln>
              <a:solidFill>
                <a:prstClr val="black"/>
              </a:solidFill>
              <a:effectLst/>
              <a:uLnTx/>
              <a:uFillTx/>
              <a:ea typeface="Calibri"/>
              <a:cs typeface="Calibri"/>
            </a:endParaRPr>
          </a:p>
          <a:p>
            <a:pPr>
              <a:defRPr/>
            </a:pPr>
            <a:r>
              <a:rPr kumimoji="0" lang="en-US" b="1" i="0" u="none" strike="noStrike" kern="1200" cap="none" spc="0" normalizeH="0" baseline="0" noProof="0">
                <a:ln>
                  <a:noFill/>
                </a:ln>
                <a:solidFill>
                  <a:prstClr val="black"/>
                </a:solidFill>
                <a:effectLst/>
                <a:uLnTx/>
                <a:uFillTx/>
                <a:ea typeface="+mn-ea"/>
                <a:cs typeface="+mn-cs"/>
              </a:rPr>
              <a:t>Key Scope/Industry:​ </a:t>
            </a:r>
            <a:r>
              <a:rPr kumimoji="0" lang="en-US" b="0" i="0" u="none" strike="noStrike" kern="1200" cap="none" spc="0" normalizeH="0" baseline="0" noProof="0">
                <a:ln>
                  <a:noFill/>
                </a:ln>
                <a:solidFill>
                  <a:prstClr val="black"/>
                </a:solidFill>
                <a:effectLst/>
                <a:uLnTx/>
                <a:uFillTx/>
                <a:ea typeface="+mn-ea"/>
                <a:cs typeface="+mn-cs"/>
              </a:rPr>
              <a:t> </a:t>
            </a:r>
            <a:r>
              <a:rPr lang="en-US">
                <a:solidFill>
                  <a:prstClr val="black"/>
                </a:solidFill>
                <a:ea typeface="+mn-lt"/>
                <a:cs typeface="+mn-lt"/>
              </a:rPr>
              <a:t>Sheet Metal Worker</a:t>
            </a:r>
            <a:endParaRPr lang="en-US">
              <a:solidFill>
                <a:prstClr val="black"/>
              </a:solidFill>
              <a:ea typeface="Calibri"/>
              <a:cs typeface="Calibri"/>
            </a:endParaRPr>
          </a:p>
          <a:p>
            <a:pPr>
              <a:defRPr/>
            </a:pPr>
            <a:r>
              <a:rPr kumimoji="0" lang="en-US" b="1" i="0" u="none" strike="noStrike" kern="1200" cap="none" spc="0" normalizeH="0" baseline="0" noProof="0">
                <a:ln>
                  <a:noFill/>
                </a:ln>
                <a:effectLst/>
                <a:uLnTx/>
                <a:uFillTx/>
                <a:ea typeface="+mn-ea"/>
                <a:cs typeface="+mn-cs"/>
              </a:rPr>
              <a:t>Project Manager​: </a:t>
            </a:r>
            <a:r>
              <a:rPr lang="en-US">
                <a:ea typeface="+mn-lt"/>
                <a:cs typeface="+mn-lt"/>
              </a:rPr>
              <a:t>Sara </a:t>
            </a:r>
            <a:r>
              <a:rPr lang="en-US" err="1">
                <a:ea typeface="+mn-lt"/>
                <a:cs typeface="+mn-lt"/>
              </a:rPr>
              <a:t>Namerow</a:t>
            </a:r>
            <a:r>
              <a:rPr lang="en-US">
                <a:ea typeface="+mn-lt"/>
                <a:cs typeface="+mn-lt"/>
              </a:rPr>
              <a:t> | </a:t>
            </a:r>
            <a:r>
              <a:rPr lang="en-US">
                <a:ea typeface="+mn-lt"/>
                <a:cs typeface="+mn-lt"/>
                <a:hlinkClick r:id="rId3"/>
              </a:rPr>
              <a:t>sara.namerow@flydenver.com</a:t>
            </a:r>
            <a:r>
              <a:rPr lang="en-US">
                <a:ea typeface="+mn-lt"/>
                <a:cs typeface="+mn-lt"/>
              </a:rPr>
              <a:t> </a:t>
            </a:r>
            <a:endParaRPr lang="en-US" b="0" i="0" u="none" strike="noStrike" kern="1200" cap="none" spc="0" normalizeH="0" baseline="0" noProof="0">
              <a:ln>
                <a:noFill/>
              </a:ln>
              <a:effectLst/>
              <a:uLnTx/>
              <a:uFillTx/>
              <a:ea typeface="+mn-lt"/>
              <a:cs typeface="+mn-lt"/>
            </a:endParaRPr>
          </a:p>
        </p:txBody>
      </p:sp>
    </p:spTree>
    <p:extLst>
      <p:ext uri="{BB962C8B-B14F-4D97-AF65-F5344CB8AC3E}">
        <p14:creationId xmlns:p14="http://schemas.microsoft.com/office/powerpoint/2010/main" val="37620183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60D67B-C87E-0B16-555C-756BD534AC12}"/>
            </a:ext>
          </a:extLst>
        </p:cNvPr>
        <p:cNvGrpSpPr/>
        <p:nvPr/>
      </p:nvGrpSpPr>
      <p:grpSpPr>
        <a:xfrm>
          <a:off x="0" y="0"/>
          <a:ext cx="0" cy="0"/>
          <a:chOff x="0" y="0"/>
          <a:chExt cx="0" cy="0"/>
        </a:xfrm>
      </p:grpSpPr>
      <p:sp>
        <p:nvSpPr>
          <p:cNvPr id="16" name="Text Placeholder 15" descr="Sanitary, Stormwater, &amp; Deice Water System Underground Utility Repair Service">
            <a:extLst>
              <a:ext uri="{FF2B5EF4-FFF2-40B4-BE49-F238E27FC236}">
                <a16:creationId xmlns:a16="http://schemas.microsoft.com/office/drawing/2014/main" id="{42306B09-9189-A7D0-6152-55960AB64D3C}"/>
              </a:ext>
            </a:extLst>
          </p:cNvPr>
          <p:cNvSpPr>
            <a:spLocks noGrp="1"/>
          </p:cNvSpPr>
          <p:nvPr>
            <p:ph type="title" idx="4294967295"/>
          </p:nvPr>
        </p:nvSpPr>
        <p:spPr>
          <a:xfrm>
            <a:off x="858812" y="313409"/>
            <a:ext cx="9286875"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rgbClr val="440099"/>
                </a:solidFill>
                <a:latin typeface="+mn-lt"/>
                <a:ea typeface="+mn-ea"/>
                <a:cs typeface="+mn-cs"/>
              </a:rPr>
              <a:t>On-Call Electrical Services</a:t>
            </a:r>
            <a:endParaRPr lang="en-US" sz="5400">
              <a:ea typeface="Calibri Light"/>
              <a:cs typeface="Calibri Light"/>
            </a:endParaRPr>
          </a:p>
        </p:txBody>
      </p:sp>
      <p:sp>
        <p:nvSpPr>
          <p:cNvPr id="3" name="TextBox 2" descr="DEN Operations &amp; Maintenance is seeking a qualified contractor to provide comprehensive maintenance, repair, and replacement services for onsite sanitary sewer, stormwater, and deice water piping systems. This includes areas such as retention ponds, glycol rehab treatment plants, and underground drainage infrastructure.&#10;&#10;Scope Highlights:&#10;Safety &amp; Permitting: Compliance with all safety protocols, traffic control, hazard identification, and scheduling to minimize impact to airport operations.&#10;Excavation &amp; Restoration: Utility locating, pipe repair/replacement, surface restoration, testing &amp; commissioning.&#10;Point Repairs: Abandon laterals, address root intrusion, offset joints, infiltration, cracks, and holes.&#10;​&#10;KEY INFORMATION ​&#10;Anticipated Advertisement Date:  Q3 2025 &#10;Estimated Project Value:  $5M to $9.99M&#10;Small Business Program Goal: TBD&#10;Key Scope/Industry:​  GPR (Ground-penetrating radar), Traffic Control, Power Equipment Operators, Welding, Plumbing, Pipe Assessment Management, Landscaping, Trenching &amp; Excavation, Permitting&#10;Project Manager​: Jacqueline Wilson | jacqueline.wilson@flydenver.com &#10;">
            <a:extLst>
              <a:ext uri="{FF2B5EF4-FFF2-40B4-BE49-F238E27FC236}">
                <a16:creationId xmlns:a16="http://schemas.microsoft.com/office/drawing/2014/main" id="{C21F5061-10F4-133C-BEB4-2F8E1AAF2E6A}"/>
              </a:ext>
              <a:ext uri="{C183D7F6-B498-43B3-948B-1728B52AA6E4}">
                <adec:decorative xmlns:adec="http://schemas.microsoft.com/office/drawing/2017/decorative" val="0"/>
              </a:ext>
            </a:extLst>
          </p:cNvPr>
          <p:cNvSpPr txBox="1"/>
          <p:nvPr/>
        </p:nvSpPr>
        <p:spPr>
          <a:xfrm>
            <a:off x="858812" y="1455525"/>
            <a:ext cx="9920948" cy="4801314"/>
          </a:xfrm>
          <a:prstGeom prst="rect">
            <a:avLst/>
          </a:prstGeom>
          <a:noFill/>
        </p:spPr>
        <p:txBody>
          <a:bodyPr wrap="square" lIns="91440" tIns="45720" rIns="91440" bIns="45720" anchor="t">
            <a:spAutoFit/>
          </a:bodyPr>
          <a:lstStyle/>
          <a:p>
            <a:r>
              <a:rPr lang="en-US">
                <a:ea typeface="+mn-lt"/>
                <a:cs typeface="+mn-lt"/>
              </a:rPr>
              <a:t>This contract will be for task-order-based, on-call electrical services related to various maintenance repairs and projects within Denver International Airport (DEN). The contractor will be required to provide electrical repairs and projects for specific task-based, as needed work requested by DEN.</a:t>
            </a:r>
          </a:p>
          <a:p>
            <a:endParaRPr lang="en-US">
              <a:ea typeface="+mn-lt"/>
              <a:cs typeface="+mn-lt"/>
            </a:endParaRPr>
          </a:p>
          <a:p>
            <a:r>
              <a:rPr lang="en-US">
                <a:ea typeface="+mn-lt"/>
                <a:cs typeface="+mn-lt"/>
              </a:rPr>
              <a:t>Specific tasks include, but are not limited to, furnishment and installation of the following:</a:t>
            </a:r>
          </a:p>
          <a:p>
            <a:pPr marL="285750" indent="-285750">
              <a:buClr>
                <a:srgbClr val="E35B2A"/>
              </a:buClr>
              <a:buFont typeface="Arial" panose="020B0604020202020204" pitchFamily="34" charset="0"/>
              <a:buChar char="•"/>
            </a:pPr>
            <a:r>
              <a:rPr lang="en-US">
                <a:ea typeface="+mn-lt"/>
                <a:cs typeface="+mn-lt"/>
              </a:rPr>
              <a:t>Power Devices, equipment, and circuiting</a:t>
            </a:r>
          </a:p>
          <a:p>
            <a:pPr marL="285750" indent="-285750">
              <a:buClr>
                <a:srgbClr val="E35B2A"/>
              </a:buClr>
              <a:buFont typeface="Arial" panose="020B0604020202020204" pitchFamily="34" charset="0"/>
              <a:buChar char="•"/>
            </a:pPr>
            <a:r>
              <a:rPr lang="en-US">
                <a:ea typeface="+mn-lt"/>
                <a:cs typeface="+mn-lt"/>
              </a:rPr>
              <a:t>Lighting</a:t>
            </a:r>
          </a:p>
          <a:p>
            <a:pPr marL="285750" indent="-285750">
              <a:buClr>
                <a:srgbClr val="E35B2A"/>
              </a:buClr>
              <a:buFont typeface="Arial" panose="020B0604020202020204" pitchFamily="34" charset="0"/>
              <a:buChar char="•"/>
            </a:pPr>
            <a:r>
              <a:rPr lang="en-US">
                <a:ea typeface="+mn-lt"/>
                <a:cs typeface="+mn-lt"/>
              </a:rPr>
              <a:t>Low-voltage and special systems used for the control of electrical or lighting</a:t>
            </a:r>
          </a:p>
          <a:p>
            <a:pPr marL="285750" indent="-285750">
              <a:buClr>
                <a:srgbClr val="E35B2A"/>
              </a:buClr>
              <a:buFont typeface="Arial" panose="020B0604020202020204" pitchFamily="34" charset="0"/>
              <a:buChar char="•"/>
            </a:pPr>
            <a:r>
              <a:rPr lang="en-US">
                <a:ea typeface="+mn-lt"/>
                <a:cs typeface="+mn-lt"/>
              </a:rPr>
              <a:t>Lighting Controls</a:t>
            </a:r>
          </a:p>
          <a:p>
            <a:pPr marL="285750" indent="-285750">
              <a:buClr>
                <a:srgbClr val="E35B2A"/>
              </a:buClr>
              <a:buFont typeface="Arial" panose="020B0604020202020204" pitchFamily="34" charset="0"/>
              <a:buChar char="•"/>
            </a:pPr>
            <a:r>
              <a:rPr lang="en-US">
                <a:ea typeface="+mn-lt"/>
                <a:cs typeface="+mn-lt"/>
              </a:rPr>
              <a:t>Medium Voltage</a:t>
            </a:r>
          </a:p>
          <a:p>
            <a:endParaRPr lang="en-US" b="1">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ea typeface="+mn-ea"/>
                <a:cs typeface="+mn-cs"/>
              </a:rPr>
              <a:t>KEY INFORMATION ​</a:t>
            </a:r>
            <a:endParaRPr kumimoji="0" lang="en-US" b="1" i="0" u="none" strike="noStrike" kern="1200" cap="none" spc="0" normalizeH="0" baseline="0" noProof="0">
              <a:ln>
                <a:noFill/>
              </a:ln>
              <a:solidFill>
                <a:prstClr val="black"/>
              </a:solidFill>
              <a:effectLst/>
              <a:uLnTx/>
              <a:uFillTx/>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ea typeface="+mn-ea"/>
                <a:cs typeface="+mn-cs"/>
              </a:rPr>
              <a:t>Anticipated Advertisement Date:  </a:t>
            </a:r>
            <a:r>
              <a:rPr lang="en-US">
                <a:solidFill>
                  <a:prstClr val="black"/>
                </a:solidFill>
              </a:rPr>
              <a:t>Q3</a:t>
            </a:r>
            <a:r>
              <a:rPr kumimoji="0" lang="en-US" b="0" i="0" u="none" strike="noStrike" kern="1200" cap="none" spc="0" normalizeH="0" baseline="0" noProof="0">
                <a:ln>
                  <a:noFill/>
                </a:ln>
                <a:solidFill>
                  <a:prstClr val="black"/>
                </a:solidFill>
                <a:effectLst/>
                <a:uLnTx/>
                <a:uFillTx/>
                <a:ea typeface="+mn-ea"/>
                <a:cs typeface="+mn-cs"/>
              </a:rPr>
              <a:t> </a:t>
            </a:r>
            <a:r>
              <a:rPr lang="en-US">
                <a:solidFill>
                  <a:prstClr val="black"/>
                </a:solidFill>
              </a:rPr>
              <a:t>2026</a:t>
            </a:r>
            <a:endParaRPr kumimoji="0" lang="en-US" b="0" i="0" u="none" strike="noStrike" kern="1200" cap="none" spc="0" normalizeH="0" baseline="0" noProof="0">
              <a:ln>
                <a:noFill/>
              </a:ln>
              <a:solidFill>
                <a:prstClr val="black"/>
              </a:solidFill>
              <a:effectLst/>
              <a:uLnTx/>
              <a:uFillTx/>
              <a:ea typeface="Calibri"/>
              <a:cs typeface="Calibri"/>
            </a:endParaRPr>
          </a:p>
          <a:p>
            <a:pPr>
              <a:defRPr/>
            </a:pPr>
            <a:r>
              <a:rPr kumimoji="0" lang="en-US" b="1" i="0" u="none" strike="noStrike" kern="1200" cap="none" spc="0" normalizeH="0" baseline="0" noProof="0">
                <a:ln>
                  <a:noFill/>
                </a:ln>
                <a:solidFill>
                  <a:prstClr val="black"/>
                </a:solidFill>
                <a:effectLst/>
                <a:uLnTx/>
                <a:uFillTx/>
                <a:ea typeface="+mn-ea"/>
                <a:cs typeface="+mn-cs"/>
              </a:rPr>
              <a:t>Estimated Project Value: </a:t>
            </a:r>
            <a:r>
              <a:rPr lang="en-US">
                <a:solidFill>
                  <a:prstClr val="black"/>
                </a:solidFill>
              </a:rPr>
              <a:t>$1M+</a:t>
            </a:r>
            <a:endParaRPr lang="en-US">
              <a:solidFill>
                <a:prstClr val="black"/>
              </a:solidFill>
              <a:ea typeface="Calibri"/>
              <a:cs typeface="Calibri"/>
            </a:endParaRPr>
          </a:p>
          <a:p>
            <a:pPr>
              <a:defRPr/>
            </a:pPr>
            <a:r>
              <a:rPr kumimoji="0" lang="en-US" b="1" i="0" u="none" strike="noStrike" kern="1200" cap="none" spc="0" normalizeH="0" baseline="0" noProof="0">
                <a:ln>
                  <a:noFill/>
                </a:ln>
                <a:solidFill>
                  <a:prstClr val="black"/>
                </a:solidFill>
                <a:effectLst/>
                <a:uLnTx/>
                <a:uFillTx/>
                <a:ea typeface="+mn-ea"/>
                <a:cs typeface="+mn-cs"/>
              </a:rPr>
              <a:t>Small Business Program Goal: </a:t>
            </a:r>
            <a:r>
              <a:rPr lang="en-US">
                <a:solidFill>
                  <a:prstClr val="black"/>
                </a:solidFill>
              </a:rPr>
              <a:t>No Program Goals</a:t>
            </a:r>
            <a:endParaRPr lang="en-US" i="0" u="none" strike="noStrike" kern="1200" cap="none" spc="0" normalizeH="0" baseline="0" noProof="0">
              <a:ln>
                <a:noFill/>
              </a:ln>
              <a:solidFill>
                <a:prstClr val="black"/>
              </a:solidFill>
              <a:effectLst/>
              <a:uLnTx/>
              <a:uFillTx/>
              <a:ea typeface="Calibri"/>
              <a:cs typeface="Calibri"/>
            </a:endParaRPr>
          </a:p>
          <a:p>
            <a:pPr>
              <a:defRPr/>
            </a:pPr>
            <a:r>
              <a:rPr kumimoji="0" lang="en-US" b="1" i="0" u="none" strike="noStrike" kern="1200" cap="none" spc="0" normalizeH="0" baseline="0" noProof="0">
                <a:ln>
                  <a:noFill/>
                </a:ln>
                <a:solidFill>
                  <a:prstClr val="black"/>
                </a:solidFill>
                <a:effectLst/>
                <a:uLnTx/>
                <a:uFillTx/>
                <a:ea typeface="+mn-ea"/>
                <a:cs typeface="+mn-cs"/>
              </a:rPr>
              <a:t>Key Scope/Industry:​ </a:t>
            </a:r>
            <a:r>
              <a:rPr kumimoji="0" lang="en-US" b="0" i="0" u="none" strike="noStrike" kern="1200" cap="none" spc="0" normalizeH="0" baseline="0" noProof="0">
                <a:ln>
                  <a:noFill/>
                </a:ln>
                <a:solidFill>
                  <a:prstClr val="black"/>
                </a:solidFill>
                <a:effectLst/>
                <a:uLnTx/>
                <a:uFillTx/>
                <a:ea typeface="+mn-ea"/>
                <a:cs typeface="+mn-cs"/>
              </a:rPr>
              <a:t> </a:t>
            </a:r>
            <a:r>
              <a:rPr lang="en-US">
                <a:solidFill>
                  <a:prstClr val="black"/>
                </a:solidFill>
                <a:ea typeface="+mn-lt"/>
                <a:cs typeface="+mn-lt"/>
              </a:rPr>
              <a:t>Electrical</a:t>
            </a:r>
            <a:endParaRPr lang="en-US">
              <a:solidFill>
                <a:prstClr val="black"/>
              </a:solidFill>
              <a:ea typeface="Calibri"/>
              <a:cs typeface="Calibri"/>
            </a:endParaRPr>
          </a:p>
          <a:p>
            <a:pPr>
              <a:defRPr/>
            </a:pPr>
            <a:r>
              <a:rPr kumimoji="0" lang="en-US" b="1" i="0" u="none" strike="noStrike" kern="1200" cap="none" spc="0" normalizeH="0" baseline="0" noProof="0">
                <a:ln>
                  <a:noFill/>
                </a:ln>
                <a:effectLst/>
                <a:uLnTx/>
                <a:uFillTx/>
                <a:ea typeface="+mn-ea"/>
                <a:cs typeface="+mn-cs"/>
              </a:rPr>
              <a:t>Project Manager​: </a:t>
            </a:r>
            <a:r>
              <a:rPr lang="en-US">
                <a:ea typeface="+mn-lt"/>
                <a:cs typeface="+mn-lt"/>
              </a:rPr>
              <a:t>Maribeth Sarnecki | </a:t>
            </a:r>
            <a:r>
              <a:rPr lang="en-US">
                <a:ea typeface="+mn-lt"/>
                <a:cs typeface="+mn-lt"/>
                <a:hlinkClick r:id="rId3"/>
              </a:rPr>
              <a:t>Maribeth.Sarnecki@flydenver.com</a:t>
            </a:r>
            <a:r>
              <a:rPr lang="en-US">
                <a:ea typeface="+mn-lt"/>
                <a:cs typeface="+mn-lt"/>
              </a:rPr>
              <a:t> </a:t>
            </a:r>
            <a:endParaRPr lang="en-US" b="0" i="0" u="none" strike="noStrike" kern="1200" cap="none" spc="0" normalizeH="0" baseline="0" noProof="0">
              <a:ln>
                <a:noFill/>
              </a:ln>
              <a:effectLst/>
              <a:uLnTx/>
              <a:uFillTx/>
              <a:ea typeface="+mn-lt"/>
              <a:cs typeface="+mn-lt"/>
            </a:endParaRPr>
          </a:p>
        </p:txBody>
      </p:sp>
    </p:spTree>
    <p:extLst>
      <p:ext uri="{BB962C8B-B14F-4D97-AF65-F5344CB8AC3E}">
        <p14:creationId xmlns:p14="http://schemas.microsoft.com/office/powerpoint/2010/main" val="40723654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FD1052-5748-A837-996D-AC66BD4F24D9}"/>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05198735-E463-921E-3674-1F39453DA7A5}"/>
              </a:ext>
            </a:extLst>
          </p:cNvPr>
          <p:cNvSpPr>
            <a:spLocks noGrp="1"/>
          </p:cNvSpPr>
          <p:nvPr>
            <p:ph type="title" idx="4294967295"/>
          </p:nvPr>
        </p:nvSpPr>
        <p:spPr>
          <a:xfrm>
            <a:off x="2359839" y="1040045"/>
            <a:ext cx="8694737" cy="1189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latin typeface="Calibri Light"/>
                <a:ea typeface="Calibri Light"/>
                <a:cs typeface="Calibri Light"/>
              </a:rPr>
              <a:t>United Airlines</a:t>
            </a:r>
            <a:br>
              <a:rPr lang="en-US" sz="3600" b="0" i="0" u="none" strike="noStrike" kern="1200" cap="none" spc="0" normalizeH="0" baseline="0" noProof="0">
                <a:ln>
                  <a:noFill/>
                </a:ln>
                <a:effectLst/>
                <a:uLnTx/>
                <a:uFillTx/>
                <a:latin typeface="Calibri Light"/>
                <a:ea typeface="Calibri Light"/>
                <a:cs typeface="Calibri Light"/>
              </a:rPr>
            </a:br>
            <a:r>
              <a:rPr lang="en-US" sz="3600">
                <a:solidFill>
                  <a:schemeClr val="bg1"/>
                </a:solidFill>
                <a:latin typeface="Calibri Light"/>
                <a:ea typeface="Calibri Light"/>
                <a:cs typeface="Calibri Light"/>
              </a:rPr>
              <a:t> </a:t>
            </a:r>
            <a:endParaRPr lang="en-US" sz="3600" b="0" i="0" u="none" strike="noStrike" kern="1200" cap="none" spc="0" normalizeH="0" baseline="0" noProof="0">
              <a:ln>
                <a:noFill/>
              </a:ln>
              <a:solidFill>
                <a:schemeClr val="bg1"/>
              </a:solidFill>
              <a:effectLst/>
              <a:uLnTx/>
              <a:uFillTx/>
              <a:latin typeface="Calibri Light"/>
              <a:ea typeface="Calibri"/>
              <a:cs typeface="Calibri"/>
            </a:endParaRPr>
          </a:p>
        </p:txBody>
      </p:sp>
    </p:spTree>
    <p:extLst>
      <p:ext uri="{BB962C8B-B14F-4D97-AF65-F5344CB8AC3E}">
        <p14:creationId xmlns:p14="http://schemas.microsoft.com/office/powerpoint/2010/main" val="41802644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1028773-59E1-EDE7-A6A5-17B8CC13F5E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458481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2" name="think-cell data - do not delete" hidden="1">
                        <a:extLst>
                          <a:ext uri="{FF2B5EF4-FFF2-40B4-BE49-F238E27FC236}">
                            <a16:creationId xmlns:a16="http://schemas.microsoft.com/office/drawing/2014/main" id="{E1028773-59E1-EDE7-A6A5-17B8CC13F5E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598F45C-1F19-5D4D-5C1A-B1A5CC391A67}"/>
              </a:ext>
            </a:extLst>
          </p:cNvPr>
          <p:cNvSpPr>
            <a:spLocks noGrp="1" noRot="1" noMove="1" noResize="1" noEditPoints="1" noAdjustHandles="1" noChangeArrowheads="1" noChangeShapeType="1"/>
          </p:cNvSpPr>
          <p:nvPr>
            <p:ph type="title"/>
          </p:nvPr>
        </p:nvSpPr>
        <p:spPr>
          <a:xfrm>
            <a:off x="377826" y="383218"/>
            <a:ext cx="11433175" cy="387798"/>
          </a:xfrm>
        </p:spPr>
        <p:txBody>
          <a:bodyPr vert="horz"/>
          <a:lstStyle/>
          <a:p>
            <a:r>
              <a:rPr lang="en-US" sz="2800"/>
              <a:t>Pedestrian Access Transit Hall Program: In-Development</a:t>
            </a:r>
          </a:p>
        </p:txBody>
      </p:sp>
      <p:sp>
        <p:nvSpPr>
          <p:cNvPr id="22" name="Title 2">
            <a:extLst>
              <a:ext uri="{FF2B5EF4-FFF2-40B4-BE49-F238E27FC236}">
                <a16:creationId xmlns:a16="http://schemas.microsoft.com/office/drawing/2014/main" id="{E10B3A9B-AC24-BD8F-62E7-89C6F105332B}"/>
              </a:ext>
            </a:extLst>
          </p:cNvPr>
          <p:cNvSpPr txBox="1">
            <a:spLocks/>
          </p:cNvSpPr>
          <p:nvPr/>
        </p:nvSpPr>
        <p:spPr>
          <a:xfrm>
            <a:off x="377825" y="817256"/>
            <a:ext cx="11433175" cy="38779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j-ea"/>
                <a:cs typeface="+mj-cs"/>
              </a:rPr>
              <a:t>Projects will have a single designer; Construction with multiple Contractors through CMAR delivery</a:t>
            </a:r>
          </a:p>
        </p:txBody>
      </p:sp>
      <p:sp>
        <p:nvSpPr>
          <p:cNvPr id="3138" name="TextBox 3137">
            <a:extLst>
              <a:ext uri="{FF2B5EF4-FFF2-40B4-BE49-F238E27FC236}">
                <a16:creationId xmlns:a16="http://schemas.microsoft.com/office/drawing/2014/main" id="{9ABD5C42-31F8-BF3A-E9B3-7C1E7B464ADA}"/>
              </a:ext>
            </a:extLst>
          </p:cNvPr>
          <p:cNvSpPr txBox="1">
            <a:spLocks noGrp="1" noRot="1" noMove="1" noResize="1" noEditPoints="1" noAdjustHandles="1" noChangeArrowheads="1" noChangeShapeType="1"/>
          </p:cNvSpPr>
          <p:nvPr/>
        </p:nvSpPr>
        <p:spPr>
          <a:xfrm>
            <a:off x="1240934" y="1463394"/>
            <a:ext cx="5215167"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PATH Program at DEN</a:t>
            </a:r>
          </a:p>
        </p:txBody>
      </p:sp>
      <p:pic>
        <p:nvPicPr>
          <p:cNvPr id="9" name="Picture 8">
            <a:extLst>
              <a:ext uri="{FF2B5EF4-FFF2-40B4-BE49-F238E27FC236}">
                <a16:creationId xmlns:a16="http://schemas.microsoft.com/office/drawing/2014/main" id="{F2F06CC4-4648-87D3-E7F8-FE849AE64123}"/>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5655385" y="1267691"/>
            <a:ext cx="4121610" cy="2253075"/>
          </a:xfrm>
          <a:prstGeom prst="rect">
            <a:avLst/>
          </a:prstGeom>
        </p:spPr>
      </p:pic>
      <p:pic>
        <p:nvPicPr>
          <p:cNvPr id="23" name="Picture 22">
            <a:extLst>
              <a:ext uri="{FF2B5EF4-FFF2-40B4-BE49-F238E27FC236}">
                <a16:creationId xmlns:a16="http://schemas.microsoft.com/office/drawing/2014/main" id="{234289B9-E202-6F6E-7A58-2E2D847E2659}"/>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10044046" y="1267691"/>
            <a:ext cx="1653011" cy="2242584"/>
          </a:xfrm>
          <a:prstGeom prst="rect">
            <a:avLst/>
          </a:prstGeom>
        </p:spPr>
      </p:pic>
      <p:pic>
        <p:nvPicPr>
          <p:cNvPr id="28" name="Picture 27">
            <a:extLst>
              <a:ext uri="{FF2B5EF4-FFF2-40B4-BE49-F238E27FC236}">
                <a16:creationId xmlns:a16="http://schemas.microsoft.com/office/drawing/2014/main" id="{4C2E1717-D5EB-0F4A-022D-952B44E6A861}"/>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377824" y="3686617"/>
            <a:ext cx="4751730" cy="2071819"/>
          </a:xfrm>
          <a:prstGeom prst="rect">
            <a:avLst/>
          </a:prstGeom>
        </p:spPr>
      </p:pic>
      <p:pic>
        <p:nvPicPr>
          <p:cNvPr id="30" name="Picture 29">
            <a:extLst>
              <a:ext uri="{FF2B5EF4-FFF2-40B4-BE49-F238E27FC236}">
                <a16:creationId xmlns:a16="http://schemas.microsoft.com/office/drawing/2014/main" id="{AD7F3530-D045-C3E8-7B03-EC6566055D91}"/>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377824" y="1473338"/>
            <a:ext cx="4751730" cy="1841783"/>
          </a:xfrm>
          <a:prstGeom prst="rect">
            <a:avLst/>
          </a:prstGeom>
        </p:spPr>
      </p:pic>
      <p:sp>
        <p:nvSpPr>
          <p:cNvPr id="31" name="TextBox 30">
            <a:extLst>
              <a:ext uri="{FF2B5EF4-FFF2-40B4-BE49-F238E27FC236}">
                <a16:creationId xmlns:a16="http://schemas.microsoft.com/office/drawing/2014/main" id="{A8E75D0D-A62B-8DF9-F9C1-71C7CF2054A6}"/>
              </a:ext>
              <a:ext uri="{C183D7F6-B498-43B3-948B-1728B52AA6E4}">
                <adec:decorative xmlns:adec="http://schemas.microsoft.com/office/drawing/2017/decorative" val="1"/>
              </a:ext>
            </a:extLst>
          </p:cNvPr>
          <p:cNvSpPr txBox="1"/>
          <p:nvPr/>
        </p:nvSpPr>
        <p:spPr>
          <a:xfrm>
            <a:off x="1278450" y="3315121"/>
            <a:ext cx="2967625" cy="24622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414DC"/>
                </a:solidFill>
                <a:effectLst/>
                <a:uLnTx/>
                <a:uFillTx/>
                <a:latin typeface="Arial" panose="020B0604020202020204"/>
                <a:ea typeface="+mn-ea"/>
                <a:cs typeface="+mn-cs"/>
              </a:rPr>
              <a:t>A to B Tunnel Cross Section</a:t>
            </a:r>
          </a:p>
        </p:txBody>
      </p:sp>
      <p:sp>
        <p:nvSpPr>
          <p:cNvPr id="3139" name="TextBox 3138">
            <a:extLst>
              <a:ext uri="{FF2B5EF4-FFF2-40B4-BE49-F238E27FC236}">
                <a16:creationId xmlns:a16="http://schemas.microsoft.com/office/drawing/2014/main" id="{C33CE575-74F4-3CBE-E77A-1D2B142C2D92}"/>
              </a:ext>
              <a:ext uri="{C183D7F6-B498-43B3-948B-1728B52AA6E4}">
                <adec:decorative xmlns:adec="http://schemas.microsoft.com/office/drawing/2017/decorative" val="1"/>
              </a:ext>
            </a:extLst>
          </p:cNvPr>
          <p:cNvSpPr txBox="1"/>
          <p:nvPr/>
        </p:nvSpPr>
        <p:spPr>
          <a:xfrm>
            <a:off x="1278450" y="5808543"/>
            <a:ext cx="3067213" cy="24622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414DC"/>
                </a:solidFill>
                <a:effectLst/>
                <a:uLnTx/>
                <a:uFillTx/>
                <a:latin typeface="Arial" panose="020B0604020202020204"/>
                <a:ea typeface="+mn-ea"/>
                <a:cs typeface="+mn-cs"/>
              </a:rPr>
              <a:t>B to C Tunnel Cross Section</a:t>
            </a:r>
          </a:p>
        </p:txBody>
      </p:sp>
      <p:pic>
        <p:nvPicPr>
          <p:cNvPr id="3145" name="Picture 3144">
            <a:extLst>
              <a:ext uri="{FF2B5EF4-FFF2-40B4-BE49-F238E27FC236}">
                <a16:creationId xmlns:a16="http://schemas.microsoft.com/office/drawing/2014/main" id="{0443E2D2-8452-743E-6A86-86D2735C5B5B}"/>
              </a:ext>
              <a:ext uri="{C183D7F6-B498-43B3-948B-1728B52AA6E4}">
                <adec:decorative xmlns:adec="http://schemas.microsoft.com/office/drawing/2017/decorative" val="1"/>
              </a:ext>
            </a:extLst>
          </p:cNvPr>
          <p:cNvPicPr>
            <a:picLocks noChangeAspect="1"/>
          </p:cNvPicPr>
          <p:nvPr/>
        </p:nvPicPr>
        <p:blipFill>
          <a:blip r:embed="rId10"/>
          <a:srcRect r="8277"/>
          <a:stretch>
            <a:fillRect/>
          </a:stretch>
        </p:blipFill>
        <p:spPr>
          <a:xfrm>
            <a:off x="5466010" y="3705978"/>
            <a:ext cx="3940540" cy="2607240"/>
          </a:xfrm>
          <a:prstGeom prst="rect">
            <a:avLst/>
          </a:prstGeom>
        </p:spPr>
      </p:pic>
      <p:sp>
        <p:nvSpPr>
          <p:cNvPr id="3149" name="TextBox 3148">
            <a:extLst>
              <a:ext uri="{FF2B5EF4-FFF2-40B4-BE49-F238E27FC236}">
                <a16:creationId xmlns:a16="http://schemas.microsoft.com/office/drawing/2014/main" id="{55315D2D-4D3A-F8BD-CD66-CF2EA977987D}"/>
              </a:ext>
              <a:ext uri="{C183D7F6-B498-43B3-948B-1728B52AA6E4}">
                <adec:decorative xmlns:adec="http://schemas.microsoft.com/office/drawing/2017/decorative" val="1"/>
              </a:ext>
            </a:extLst>
          </p:cNvPr>
          <p:cNvSpPr txBox="1"/>
          <p:nvPr/>
        </p:nvSpPr>
        <p:spPr>
          <a:xfrm>
            <a:off x="6891963" y="3705978"/>
            <a:ext cx="2320278" cy="24622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414DC"/>
                </a:solidFill>
                <a:effectLst/>
                <a:uLnTx/>
                <a:uFillTx/>
                <a:latin typeface="Arial" panose="020B0604020202020204"/>
                <a:ea typeface="+mn-ea"/>
                <a:cs typeface="+mn-cs"/>
              </a:rPr>
              <a:t>A-North Node Concept</a:t>
            </a:r>
          </a:p>
        </p:txBody>
      </p:sp>
      <p:sp>
        <p:nvSpPr>
          <p:cNvPr id="3150" name="TextBox 3149">
            <a:extLst>
              <a:ext uri="{FF2B5EF4-FFF2-40B4-BE49-F238E27FC236}">
                <a16:creationId xmlns:a16="http://schemas.microsoft.com/office/drawing/2014/main" id="{E0D9FBD6-7BE0-EB55-8256-5EC6AC3F6944}"/>
              </a:ext>
            </a:extLst>
          </p:cNvPr>
          <p:cNvSpPr txBox="1"/>
          <p:nvPr/>
        </p:nvSpPr>
        <p:spPr>
          <a:xfrm>
            <a:off x="9649938" y="3952199"/>
            <a:ext cx="2441225" cy="98488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a:ln>
                  <a:noFill/>
                </a:ln>
                <a:solidFill>
                  <a:srgbClr val="1414DC"/>
                </a:solidFill>
                <a:effectLst/>
                <a:uLnTx/>
                <a:uFillTx/>
                <a:latin typeface="Arial" panose="020B0604020202020204"/>
                <a:ea typeface="+mn-ea"/>
                <a:cs typeface="+mn-cs"/>
              </a:rPr>
              <a:t>Upcoming Opportun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414DC"/>
                </a:solidFill>
                <a:effectLst/>
                <a:uLnTx/>
                <a:uFillTx/>
                <a:latin typeface="Arial" panose="020B0604020202020204"/>
                <a:ea typeface="+mn-ea"/>
                <a:cs typeface="+mn-cs"/>
              </a:rPr>
              <a:t>Outreach Event: 3Q26</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414DC"/>
                </a:solidFill>
                <a:effectLst/>
                <a:uLnTx/>
                <a:uFillTx/>
                <a:latin typeface="Arial" panose="020B0604020202020204"/>
                <a:ea typeface="+mn-ea"/>
                <a:cs typeface="+mn-cs"/>
              </a:rPr>
              <a:t>Design RFP: 4Q26</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414DC"/>
                </a:solidFill>
                <a:effectLst/>
                <a:uLnTx/>
                <a:uFillTx/>
                <a:latin typeface="Arial" panose="020B0604020202020204"/>
                <a:ea typeface="+mn-ea"/>
                <a:cs typeface="+mn-cs"/>
              </a:rPr>
              <a:t>CMAR RFP: 2Q27</a:t>
            </a:r>
          </a:p>
        </p:txBody>
      </p:sp>
      <p:sp>
        <p:nvSpPr>
          <p:cNvPr id="4" name="TextBox 3">
            <a:extLst>
              <a:ext uri="{FF2B5EF4-FFF2-40B4-BE49-F238E27FC236}">
                <a16:creationId xmlns:a16="http://schemas.microsoft.com/office/drawing/2014/main" id="{41DA913B-FC80-7C6E-322E-C4769BA93BD9}"/>
              </a:ext>
            </a:extLst>
          </p:cNvPr>
          <p:cNvSpPr txBox="1"/>
          <p:nvPr/>
        </p:nvSpPr>
        <p:spPr>
          <a:xfrm>
            <a:off x="9472162" y="5122154"/>
            <a:ext cx="2721318" cy="107721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414DC"/>
                </a:solidFill>
                <a:effectLst/>
                <a:uLnTx/>
                <a:uFillTx/>
                <a:latin typeface="Arial" panose="020B0604020202020204"/>
                <a:ea typeface="+mn-ea"/>
                <a:cs typeface="+mn-cs"/>
              </a:rPr>
              <a:t>Zach Kelloms, PE, P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414DC"/>
                </a:solidFill>
                <a:effectLst/>
                <a:uLnTx/>
                <a:uFillTx/>
                <a:latin typeface="Arial" panose="020B0604020202020204"/>
                <a:ea typeface="+mn-ea"/>
                <a:cs typeface="+mn-cs"/>
              </a:rPr>
              <a:t>United Airlines Program Man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414DC"/>
                </a:solidFill>
                <a:effectLst/>
                <a:uLnTx/>
                <a:uFillTx/>
                <a:latin typeface="Arial" panose="020B0604020202020204"/>
                <a:ea typeface="+mn-ea"/>
                <a:cs typeface="+mn-cs"/>
                <a:hlinkClick r:id="rId11"/>
              </a:rPr>
              <a:t>Zach.Kelloms@united.com</a:t>
            </a:r>
            <a:endParaRPr kumimoji="0" lang="en-US" sz="1400" b="0" i="0" u="none" strike="noStrike" kern="1200" cap="none" spc="0" normalizeH="0" baseline="0" noProof="0">
              <a:ln>
                <a:noFill/>
              </a:ln>
              <a:solidFill>
                <a:srgbClr val="1414DC"/>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414DC"/>
                </a:solidFill>
                <a:effectLst/>
                <a:uLnTx/>
                <a:uFillTx/>
                <a:latin typeface="Arial" panose="020B0604020202020204"/>
                <a:ea typeface="+mn-ea"/>
                <a:cs typeface="+mn-cs"/>
              </a:rPr>
              <a:t>501-860-881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1414DC"/>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283657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A3E4D4-C26D-2CED-FE77-F418CF4615E2}"/>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A7DB9D50-3832-E0DF-96AB-A32C0B4279A9}"/>
              </a:ext>
            </a:extLst>
          </p:cNvPr>
          <p:cNvSpPr>
            <a:spLocks noGrp="1"/>
          </p:cNvSpPr>
          <p:nvPr>
            <p:ph type="title" idx="4294967295"/>
          </p:nvPr>
        </p:nvSpPr>
        <p:spPr>
          <a:xfrm>
            <a:off x="2359839" y="1040045"/>
            <a:ext cx="8694737" cy="1189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rPr>
              <a:t>DEN Procurement </a:t>
            </a:r>
            <a:br>
              <a:rPr lang="en-US" sz="3600" b="0" i="0" u="none" strike="noStrike" kern="1200" cap="none" spc="0" normalizeH="0" baseline="0" noProof="0">
                <a:ln>
                  <a:noFill/>
                </a:ln>
                <a:effectLst/>
                <a:uLnTx/>
                <a:uFillTx/>
                <a:ea typeface="Calibri"/>
                <a:cs typeface="Calibri"/>
              </a:rPr>
            </a:br>
            <a:r>
              <a:rPr lang="en-US" sz="3600">
                <a:solidFill>
                  <a:schemeClr val="bg1"/>
                </a:solidFill>
                <a:ea typeface="Calibri Light"/>
                <a:cs typeface="Calibri Light"/>
              </a:rPr>
              <a:t> </a:t>
            </a:r>
            <a:endParaRPr lang="en-US" sz="3600" b="0" i="0" u="none" strike="noStrike" kern="1200" cap="none" spc="0" normalizeH="0" baseline="0" noProof="0">
              <a:ln>
                <a:noFill/>
              </a:ln>
              <a:solidFill>
                <a:schemeClr val="bg1"/>
              </a:solidFill>
              <a:effectLst/>
              <a:uLnTx/>
              <a:uFillTx/>
              <a:ea typeface="Calibri"/>
              <a:cs typeface="Calibri"/>
            </a:endParaRPr>
          </a:p>
        </p:txBody>
      </p:sp>
    </p:spTree>
    <p:extLst>
      <p:ext uri="{BB962C8B-B14F-4D97-AF65-F5344CB8AC3E}">
        <p14:creationId xmlns:p14="http://schemas.microsoft.com/office/powerpoint/2010/main" val="20033561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2FDE6BB6-A18F-B285-0AE6-9FC7DB53D663}"/>
              </a:ext>
            </a:extLst>
          </p:cNvPr>
          <p:cNvSpPr>
            <a:spLocks noGrp="1"/>
          </p:cNvSpPr>
          <p:nvPr>
            <p:ph type="title" idx="4294967295"/>
          </p:nvPr>
        </p:nvSpPr>
        <p:spPr>
          <a:xfrm>
            <a:off x="770439" y="496503"/>
            <a:ext cx="869440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440099"/>
                </a:solidFill>
                <a:effectLst/>
                <a:uLnTx/>
                <a:uFillTx/>
                <a:latin typeface="+mn-lt"/>
                <a:ea typeface="+mn-ea"/>
                <a:cs typeface="+mn-cs"/>
              </a:rPr>
              <a:t>DEN Procurement  </a:t>
            </a:r>
          </a:p>
        </p:txBody>
      </p:sp>
      <p:sp>
        <p:nvSpPr>
          <p:cNvPr id="15" name="Text Placeholder 14" descr="QR Code redirecting to https://www.flydenver.com/business-and-community/procurement/opportunities/">
            <a:extLst>
              <a:ext uri="{FF2B5EF4-FFF2-40B4-BE49-F238E27FC236}">
                <a16:creationId xmlns:a16="http://schemas.microsoft.com/office/drawing/2014/main" id="{2FA385AD-55E8-5A28-C5A2-60C3A8F5BB42}"/>
              </a:ext>
            </a:extLst>
          </p:cNvPr>
          <p:cNvSpPr>
            <a:spLocks noGrp="1"/>
          </p:cNvSpPr>
          <p:nvPr>
            <p:ph type="body" sz="quarter" idx="14"/>
          </p:nvPr>
        </p:nvSpPr>
        <p:spPr>
          <a:xfrm>
            <a:off x="770439" y="1259557"/>
            <a:ext cx="9611811" cy="5218631"/>
          </a:xfrm>
        </p:spPr>
        <p:txBody>
          <a:bodyPr lIns="91440" tIns="45720" rIns="91440" bIns="45720" anchor="t"/>
          <a:lstStyle/>
          <a:p>
            <a:pPr>
              <a:spcBef>
                <a:spcPts val="0"/>
              </a:spcBef>
              <a:buNone/>
            </a:pPr>
            <a:r>
              <a:rPr lang="en-US" sz="1700" b="1"/>
              <a:t>Contract Types:</a:t>
            </a:r>
            <a:endParaRPr lang="en-US" sz="1700"/>
          </a:p>
          <a:p>
            <a:pPr>
              <a:spcBef>
                <a:spcPts val="0"/>
              </a:spcBef>
              <a:buFont typeface="Arial" panose="020B0604020202020204" pitchFamily="34" charset="0"/>
              <a:buChar char="•"/>
            </a:pPr>
            <a:r>
              <a:rPr lang="en-US" sz="1700" i="1"/>
              <a:t>Competitive:</a:t>
            </a:r>
            <a:r>
              <a:rPr lang="en-US" sz="1700"/>
              <a:t> Professional Services, Construction, Revenue Opportunities</a:t>
            </a:r>
          </a:p>
          <a:p>
            <a:pPr>
              <a:spcBef>
                <a:spcPts val="0"/>
              </a:spcBef>
              <a:buFont typeface="Arial" panose="020B0604020202020204" pitchFamily="34" charset="0"/>
              <a:buChar char="•"/>
            </a:pPr>
            <a:r>
              <a:rPr lang="en-US" sz="1700" i="1"/>
              <a:t>Non-Competitive:</a:t>
            </a:r>
            <a:r>
              <a:rPr lang="en-US" sz="1700"/>
              <a:t> Sole Source, Professional Preference, Amendments, Grants, Revenue Agreements</a:t>
            </a:r>
          </a:p>
          <a:p>
            <a:pPr marL="0" indent="0">
              <a:spcBef>
                <a:spcPts val="0"/>
              </a:spcBef>
              <a:buNone/>
            </a:pPr>
            <a:br>
              <a:rPr lang="en-US" sz="1700" b="1"/>
            </a:br>
            <a:r>
              <a:rPr lang="en-US" sz="1700" b="1"/>
              <a:t>Task Orders:</a:t>
            </a:r>
          </a:p>
          <a:p>
            <a:pPr>
              <a:spcBef>
                <a:spcPts val="0"/>
              </a:spcBef>
            </a:pPr>
            <a:r>
              <a:rPr lang="en-US" sz="1700"/>
              <a:t>Supports both competitive and non-competitive processes</a:t>
            </a:r>
          </a:p>
          <a:p>
            <a:pPr>
              <a:spcBef>
                <a:spcPts val="0"/>
              </a:spcBef>
              <a:buNone/>
            </a:pPr>
            <a:endParaRPr lang="en-US" sz="1700" b="1"/>
          </a:p>
          <a:p>
            <a:pPr>
              <a:spcBef>
                <a:spcPts val="0"/>
              </a:spcBef>
              <a:buNone/>
            </a:pPr>
            <a:r>
              <a:rPr lang="en-US" sz="1700" b="1"/>
              <a:t>Governance:</a:t>
            </a:r>
          </a:p>
          <a:p>
            <a:pPr>
              <a:spcBef>
                <a:spcPts val="0"/>
              </a:spcBef>
            </a:pPr>
            <a:r>
              <a:rPr lang="en-US" sz="1700"/>
              <a:t>City &amp; DEN Charter, Ordinances, and Regulations</a:t>
            </a:r>
          </a:p>
          <a:p>
            <a:pPr>
              <a:spcBef>
                <a:spcPts val="0"/>
              </a:spcBef>
              <a:buNone/>
            </a:pPr>
            <a:endParaRPr lang="en-US" sz="1700" b="1"/>
          </a:p>
          <a:p>
            <a:pPr>
              <a:spcBef>
                <a:spcPts val="0"/>
              </a:spcBef>
              <a:buNone/>
            </a:pPr>
            <a:r>
              <a:rPr lang="en-US" sz="1700" b="1"/>
              <a:t>Solicitation Types: </a:t>
            </a:r>
          </a:p>
          <a:p>
            <a:pPr>
              <a:spcBef>
                <a:spcPts val="0"/>
              </a:spcBef>
            </a:pPr>
            <a:r>
              <a:rPr lang="en-US" sz="1700"/>
              <a:t>RFP, RFQ, RFO, RFI, IFB, Informal Competitive Procurement</a:t>
            </a:r>
          </a:p>
          <a:p>
            <a:pPr>
              <a:spcBef>
                <a:spcPts val="0"/>
              </a:spcBef>
              <a:buNone/>
            </a:pPr>
            <a:endParaRPr lang="en-US" sz="1700" b="1"/>
          </a:p>
          <a:p>
            <a:pPr marL="0" indent="0">
              <a:spcBef>
                <a:spcPts val="0"/>
              </a:spcBef>
              <a:buNone/>
            </a:pPr>
            <a:endParaRPr lang="en-US" sz="1700" b="1">
              <a:ea typeface="Calibri"/>
              <a:cs typeface="Calibri"/>
            </a:endParaRPr>
          </a:p>
          <a:p>
            <a:pPr marL="0" indent="0">
              <a:spcBef>
                <a:spcPts val="0"/>
              </a:spcBef>
              <a:buNone/>
            </a:pPr>
            <a:r>
              <a:rPr lang="en-US" sz="1700" b="1"/>
              <a:t>Learn More: </a:t>
            </a:r>
            <a:r>
              <a:rPr lang="en-US" sz="1700"/>
              <a:t>Visit our breakout room or scan the QR code to explore DEN’s procurement process on our website.</a:t>
            </a:r>
          </a:p>
        </p:txBody>
      </p:sp>
      <p:pic>
        <p:nvPicPr>
          <p:cNvPr id="19" name="Picture 18" descr="QR Code redirecting to https://www.flydenver.com/business-and-community/procurement/opportunities/">
            <a:extLst>
              <a:ext uri="{FF2B5EF4-FFF2-40B4-BE49-F238E27FC236}">
                <a16:creationId xmlns:a16="http://schemas.microsoft.com/office/drawing/2014/main" id="{4FAF00CA-56C8-BBCB-5ADD-BA218BE2158A}"/>
              </a:ext>
            </a:extLst>
          </p:cNvPr>
          <p:cNvPicPr>
            <a:picLocks noChangeAspect="1"/>
          </p:cNvPicPr>
          <p:nvPr/>
        </p:nvPicPr>
        <p:blipFill>
          <a:blip r:embed="rId3"/>
          <a:stretch>
            <a:fillRect/>
          </a:stretch>
        </p:blipFill>
        <p:spPr>
          <a:xfrm>
            <a:off x="10734675" y="5324475"/>
            <a:ext cx="1285874" cy="1285874"/>
          </a:xfrm>
          <a:prstGeom prst="rect">
            <a:avLst/>
          </a:prstGeom>
        </p:spPr>
      </p:pic>
    </p:spTree>
    <p:extLst>
      <p:ext uri="{BB962C8B-B14F-4D97-AF65-F5344CB8AC3E}">
        <p14:creationId xmlns:p14="http://schemas.microsoft.com/office/powerpoint/2010/main" val="3755406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descr="DEN Procurement – Contract Lifecycle">
            <a:extLst>
              <a:ext uri="{FF2B5EF4-FFF2-40B4-BE49-F238E27FC236}">
                <a16:creationId xmlns:a16="http://schemas.microsoft.com/office/drawing/2014/main" id="{2BA945F4-CEF6-9FBD-95BF-ABCCF5D69BE9}"/>
              </a:ext>
            </a:extLst>
          </p:cNvPr>
          <p:cNvSpPr>
            <a:spLocks noGrp="1"/>
          </p:cNvSpPr>
          <p:nvPr>
            <p:ph type="title" idx="4294967295"/>
          </p:nvPr>
        </p:nvSpPr>
        <p:spPr>
          <a:xfrm>
            <a:off x="770439" y="496503"/>
            <a:ext cx="869440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440099"/>
                </a:solidFill>
                <a:effectLst/>
                <a:uLnTx/>
                <a:uFillTx/>
                <a:latin typeface="+mn-lt"/>
                <a:ea typeface="+mn-ea"/>
                <a:cs typeface="+mn-cs"/>
              </a:rPr>
              <a:t>DEN Procurement – Contract</a:t>
            </a:r>
            <a:r>
              <a:rPr kumimoji="0" lang="en-US" sz="3200" b="0" i="0" u="none" strike="noStrike" kern="1200" cap="none" spc="0" normalizeH="0" noProof="0">
                <a:ln>
                  <a:noFill/>
                </a:ln>
                <a:solidFill>
                  <a:srgbClr val="440099"/>
                </a:solidFill>
                <a:effectLst/>
                <a:uLnTx/>
                <a:uFillTx/>
                <a:latin typeface="+mn-lt"/>
                <a:ea typeface="+mn-ea"/>
                <a:cs typeface="+mn-cs"/>
              </a:rPr>
              <a:t> Lifecycle</a:t>
            </a:r>
            <a:endParaRPr kumimoji="0" lang="en-US" sz="3200" b="0" i="0" u="none" strike="noStrike" kern="1200" cap="none" spc="0" normalizeH="0" baseline="0" noProof="0">
              <a:ln>
                <a:noFill/>
              </a:ln>
              <a:solidFill>
                <a:srgbClr val="440099"/>
              </a:solidFill>
              <a:effectLst/>
              <a:uLnTx/>
              <a:uFillTx/>
              <a:latin typeface="+mn-lt"/>
              <a:ea typeface="+mn-ea"/>
              <a:cs typeface="+mn-cs"/>
            </a:endParaRPr>
          </a:p>
        </p:txBody>
      </p:sp>
      <p:sp>
        <p:nvSpPr>
          <p:cNvPr id="5" name="TextBox 4" descr="Active DEN Procurements &amp; Solicitations are available on BidNet: https://www.bidnetdirect.com/colorado/cityandcountyofdenverdepartmentofaviation&#10;Important Dates:&#10;Published/Advertised Date&#10;Proposal Due Date&#10;Important Information:&#10;Pre-proposal meetings outlining project details&#10;Proposal Narrative Contents &amp; Evaluation Criteria&#10;">
            <a:extLst>
              <a:ext uri="{FF2B5EF4-FFF2-40B4-BE49-F238E27FC236}">
                <a16:creationId xmlns:a16="http://schemas.microsoft.com/office/drawing/2014/main" id="{AB000D8F-73B4-F4CD-BB34-FB5A6DEA29CA}"/>
              </a:ext>
            </a:extLst>
          </p:cNvPr>
          <p:cNvSpPr txBox="1"/>
          <p:nvPr/>
        </p:nvSpPr>
        <p:spPr>
          <a:xfrm>
            <a:off x="770438" y="1397675"/>
            <a:ext cx="10735761" cy="2062103"/>
          </a:xfrm>
          <a:prstGeom prst="rect">
            <a:avLst/>
          </a:prstGeom>
          <a:noFill/>
        </p:spPr>
        <p:txBody>
          <a:bodyPr wrap="square" lIns="91440" tIns="45720" rIns="91440" bIns="45720" anchor="t">
            <a:spAutoFit/>
          </a:bodyPr>
          <a:lstStyle/>
          <a:p>
            <a:pPr marL="285750" indent="-285750" defTabSz="457200">
              <a:buClr>
                <a:srgbClr val="E35B2A"/>
              </a:buClr>
              <a:buFont typeface="Arial" panose="020B0604020202020204" pitchFamily="34" charset="0"/>
              <a:buChar char="•"/>
              <a:defRPr/>
            </a:pPr>
            <a:r>
              <a:rPr kumimoji="0" lang="en-US" sz="1600" b="0" i="0" u="none" strike="noStrike" kern="1200" cap="none" spc="0" normalizeH="0" baseline="0" noProof="0">
                <a:ln>
                  <a:noFill/>
                </a:ln>
                <a:solidFill>
                  <a:prstClr val="black"/>
                </a:solidFill>
                <a:effectLst/>
                <a:uLnTx/>
                <a:uFillTx/>
                <a:latin typeface="Calibri" panose="020F0502020204030204"/>
                <a:ea typeface="+mn-ea"/>
              </a:rPr>
              <a:t>Active DEN Procurements &amp; Solicitations are available on </a:t>
            </a:r>
            <a:r>
              <a:rPr kumimoji="0" lang="en-US" sz="1600" b="0" i="0" u="none" strike="noStrike" kern="1200" cap="none" spc="0" normalizeH="0" baseline="0" noProof="0" err="1">
                <a:ln>
                  <a:noFill/>
                </a:ln>
                <a:solidFill>
                  <a:prstClr val="black"/>
                </a:solidFill>
                <a:effectLst/>
                <a:uLnTx/>
                <a:uFillTx/>
                <a:latin typeface="Calibri" panose="020F0502020204030204"/>
                <a:ea typeface="+mn-ea"/>
              </a:rPr>
              <a:t>BidNet</a:t>
            </a:r>
            <a:r>
              <a:rPr kumimoji="0" lang="en-US" sz="1600" b="0" i="0" u="none" strike="noStrike" kern="1200" cap="none" spc="0" normalizeH="0" baseline="0" noProof="0">
                <a:ln>
                  <a:noFill/>
                </a:ln>
                <a:solidFill>
                  <a:prstClr val="black"/>
                </a:solidFill>
                <a:effectLst/>
                <a:uLnTx/>
                <a:uFillTx/>
                <a:latin typeface="Calibri" panose="020F0502020204030204"/>
                <a:ea typeface="+mn-ea"/>
              </a:rPr>
              <a:t>: </a:t>
            </a:r>
            <a:r>
              <a:rPr kumimoji="0" lang="en-US" sz="1600" b="0" i="0" u="sng" strike="noStrike" kern="1200" cap="none" spc="0" normalizeH="0" baseline="0" noProof="0">
                <a:ln>
                  <a:noFill/>
                </a:ln>
                <a:solidFill>
                  <a:prstClr val="black"/>
                </a:solidFill>
                <a:effectLst/>
                <a:uLnTx/>
                <a:uFillTx/>
                <a:latin typeface="Calibri" panose="020F0502020204030204"/>
                <a:ea typeface="+mn-ea"/>
                <a:hlinkClick r:id="rId2">
                  <a:extLst>
                    <a:ext uri="{A12FA001-AC4F-418D-AE19-62706E023703}">
                      <ahyp:hlinkClr xmlns:ahyp="http://schemas.microsoft.com/office/drawing/2018/hyperlinkcolor" val="tx"/>
                    </a:ext>
                  </a:extLst>
                </a:hlinkClick>
              </a:rPr>
              <a:t>https://www.bidnetdirect.com/colorado/cityandcountyofdenverdepartmentofaviation</a:t>
            </a:r>
            <a:r>
              <a:rPr lang="en-US" sz="1600" u="sng">
                <a:solidFill>
                  <a:prstClr val="black"/>
                </a:solidFill>
                <a:latin typeface="Calibri" panose="020F0502020204030204"/>
              </a:rPr>
              <a:t> </a:t>
            </a:r>
            <a:endParaRPr kumimoji="0" lang="en-US" sz="1600" b="0" i="0" u="sng" strike="noStrike" kern="1200" cap="none" spc="0" normalizeH="0" baseline="0" noProof="0">
              <a:ln>
                <a:noFill/>
              </a:ln>
              <a:solidFill>
                <a:prstClr val="black"/>
              </a:solidFill>
              <a:effectLst/>
              <a:uLnTx/>
              <a:uFillTx/>
              <a:latin typeface="Calibri" panose="020F0502020204030204"/>
              <a:ea typeface="+mn-ea"/>
            </a:endParaRPr>
          </a:p>
          <a:p>
            <a:pPr marL="742950" marR="0" lvl="1" indent="-285750" algn="l" defTabSz="457200" rtl="0" eaLnBrk="1" fontAlgn="auto" latinLnBrk="0" hangingPunct="1">
              <a:lnSpc>
                <a:spcPct val="100000"/>
              </a:lnSpc>
              <a:spcBef>
                <a:spcPts val="0"/>
              </a:spcBef>
              <a:spcAft>
                <a:spcPts val="0"/>
              </a:spcAft>
              <a:buClr>
                <a:srgbClr val="E35B2A"/>
              </a:buClr>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rPr>
              <a:t>Important Dates:</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200150" marR="0" lvl="2" indent="-285750" algn="l" defTabSz="457200" rtl="0" eaLnBrk="1" fontAlgn="auto" latinLnBrk="0" hangingPunct="1">
              <a:lnSpc>
                <a:spcPct val="100000"/>
              </a:lnSpc>
              <a:spcBef>
                <a:spcPts val="0"/>
              </a:spcBef>
              <a:spcAft>
                <a:spcPts val="0"/>
              </a:spcAft>
              <a:buClr>
                <a:srgbClr val="E35B2A"/>
              </a:buClr>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rPr>
              <a:t>Published/Advertised Date</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200150" marR="0" lvl="2" indent="-285750" algn="l" defTabSz="457200" rtl="0" eaLnBrk="1" fontAlgn="auto" latinLnBrk="0" hangingPunct="1">
              <a:lnSpc>
                <a:spcPct val="100000"/>
              </a:lnSpc>
              <a:spcBef>
                <a:spcPts val="0"/>
              </a:spcBef>
              <a:spcAft>
                <a:spcPts val="0"/>
              </a:spcAft>
              <a:buClr>
                <a:srgbClr val="E35B2A"/>
              </a:buClr>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rPr>
              <a:t>Proposal Due Date</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742950" marR="0" lvl="1" indent="-285750" algn="l" defTabSz="457200" rtl="0" eaLnBrk="1" fontAlgn="auto" latinLnBrk="0" hangingPunct="1">
              <a:lnSpc>
                <a:spcPct val="100000"/>
              </a:lnSpc>
              <a:spcBef>
                <a:spcPts val="0"/>
              </a:spcBef>
              <a:spcAft>
                <a:spcPts val="0"/>
              </a:spcAft>
              <a:buClr>
                <a:srgbClr val="E35B2A"/>
              </a:buClr>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rPr>
              <a:t>Important Information:</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200150" marR="0" lvl="2" indent="-285750" algn="l" defTabSz="457200" rtl="0" eaLnBrk="1" fontAlgn="auto" latinLnBrk="0" hangingPunct="1">
              <a:lnSpc>
                <a:spcPct val="100000"/>
              </a:lnSpc>
              <a:spcBef>
                <a:spcPts val="0"/>
              </a:spcBef>
              <a:spcAft>
                <a:spcPts val="0"/>
              </a:spcAft>
              <a:buClr>
                <a:srgbClr val="E35B2A"/>
              </a:buClr>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rPr>
              <a:t>Pre-proposal meetings outlining project details</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200150" marR="0" lvl="2" indent="-285750" algn="l" defTabSz="457200" rtl="0" eaLnBrk="1" fontAlgn="auto" latinLnBrk="0" hangingPunct="1">
              <a:lnSpc>
                <a:spcPct val="100000"/>
              </a:lnSpc>
              <a:spcBef>
                <a:spcPts val="0"/>
              </a:spcBef>
              <a:spcAft>
                <a:spcPts val="0"/>
              </a:spcAft>
              <a:buClr>
                <a:srgbClr val="E35B2A"/>
              </a:buClr>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rPr>
              <a:t>Proposal Narrative Contents &amp; Evaluation Criteria</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 name="Picture 5" descr="Contract Lifecycle at DEN &#10;&#10;https://www.flydenver.com/business-and-community/procurement/opportunities/">
            <a:extLst>
              <a:ext uri="{FF2B5EF4-FFF2-40B4-BE49-F238E27FC236}">
                <a16:creationId xmlns:a16="http://schemas.microsoft.com/office/drawing/2014/main" id="{9CE4D9AE-BFA2-566D-D5C9-18E22CD2B0F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9135" y="3526886"/>
            <a:ext cx="9561901" cy="2925766"/>
          </a:xfrm>
          <a:prstGeom prst="rect">
            <a:avLst/>
          </a:prstGeom>
        </p:spPr>
      </p:pic>
    </p:spTree>
    <p:extLst>
      <p:ext uri="{BB962C8B-B14F-4D97-AF65-F5344CB8AC3E}">
        <p14:creationId xmlns:p14="http://schemas.microsoft.com/office/powerpoint/2010/main" val="19690753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8B5592-C6BD-B9B3-49DF-B3A25D8C4ECA}"/>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FC50DAB9-D70B-6CD7-C0C0-A0F4FF0E2EFF}"/>
              </a:ext>
            </a:extLst>
          </p:cNvPr>
          <p:cNvSpPr>
            <a:spLocks noGrp="1"/>
          </p:cNvSpPr>
          <p:nvPr>
            <p:ph type="title" idx="4294967295"/>
          </p:nvPr>
        </p:nvSpPr>
        <p:spPr>
          <a:xfrm>
            <a:off x="2302329" y="1040045"/>
            <a:ext cx="9888057" cy="1189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latin typeface="Calibri Light"/>
                <a:ea typeface="Calibri Light"/>
                <a:cs typeface="Calibri Light"/>
              </a:rPr>
              <a:t>Small Business Concessions Programs (ACDBE/SBEC)</a:t>
            </a:r>
            <a:br>
              <a:rPr lang="en-US" sz="3600" b="0" i="0" u="none" strike="noStrike" kern="1200" cap="none" spc="0" normalizeH="0" baseline="0" noProof="0">
                <a:ln>
                  <a:noFill/>
                </a:ln>
                <a:solidFill>
                  <a:schemeClr val="bg1"/>
                </a:solidFill>
                <a:effectLst/>
                <a:uLnTx/>
                <a:uFillTx/>
                <a:latin typeface="Calibri Light"/>
                <a:ea typeface="Calibri Light"/>
                <a:cs typeface="Calibri Light"/>
              </a:rPr>
            </a:br>
            <a:r>
              <a:rPr lang="en-US" sz="3600">
                <a:solidFill>
                  <a:schemeClr val="bg1"/>
                </a:solidFill>
                <a:latin typeface="Calibri Light"/>
                <a:ea typeface="Calibri Light"/>
                <a:cs typeface="Calibri Light"/>
              </a:rPr>
              <a:t>Airport Access &amp; Business Opportunity</a:t>
            </a:r>
            <a:br>
              <a:rPr lang="en-US" sz="3600">
                <a:latin typeface="Calibri Light"/>
                <a:ea typeface="Calibri Light"/>
                <a:cs typeface="Calibri Light"/>
              </a:rPr>
            </a:br>
            <a:r>
              <a:rPr lang="en-US" sz="3600">
                <a:solidFill>
                  <a:schemeClr val="bg1"/>
                </a:solidFill>
                <a:latin typeface="Calibri Light"/>
                <a:ea typeface="Calibri Light"/>
                <a:cs typeface="Calibri Light"/>
              </a:rPr>
              <a:t> </a:t>
            </a:r>
            <a:endParaRPr lang="en-US" sz="3600" b="0" i="0" u="none" strike="noStrike" kern="1200" cap="none" spc="0" normalizeH="0" baseline="0" noProof="0">
              <a:ln>
                <a:noFill/>
              </a:ln>
              <a:solidFill>
                <a:schemeClr val="bg1"/>
              </a:solidFill>
              <a:effectLst/>
              <a:uLnTx/>
              <a:uFillTx/>
              <a:latin typeface="Calibri Light"/>
              <a:ea typeface="Calibri"/>
              <a:cs typeface="Calibri"/>
            </a:endParaRPr>
          </a:p>
        </p:txBody>
      </p:sp>
    </p:spTree>
    <p:extLst>
      <p:ext uri="{BB962C8B-B14F-4D97-AF65-F5344CB8AC3E}">
        <p14:creationId xmlns:p14="http://schemas.microsoft.com/office/powerpoint/2010/main" val="21477757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69457B-3948-DAAA-AA4B-957CD8C87FBE}"/>
            </a:ext>
          </a:extLst>
        </p:cNvPr>
        <p:cNvGrpSpPr/>
        <p:nvPr/>
      </p:nvGrpSpPr>
      <p:grpSpPr>
        <a:xfrm>
          <a:off x="0" y="0"/>
          <a:ext cx="0" cy="0"/>
          <a:chOff x="0" y="0"/>
          <a:chExt cx="0" cy="0"/>
        </a:xfrm>
      </p:grpSpPr>
      <p:sp>
        <p:nvSpPr>
          <p:cNvPr id="12" name="Text Placeholder 11">
            <a:extLst>
              <a:ext uri="{FF2B5EF4-FFF2-40B4-BE49-F238E27FC236}">
                <a16:creationId xmlns:a16="http://schemas.microsoft.com/office/drawing/2014/main" id="{6E474C82-84CC-99DD-DE36-3A790CE3428B}"/>
              </a:ext>
            </a:extLst>
          </p:cNvPr>
          <p:cNvSpPr>
            <a:spLocks noGrp="1"/>
          </p:cNvSpPr>
          <p:nvPr>
            <p:ph type="title" idx="4294967295"/>
          </p:nvPr>
        </p:nvSpPr>
        <p:spPr>
          <a:xfrm>
            <a:off x="770439" y="545664"/>
            <a:ext cx="1025527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200">
                <a:solidFill>
                  <a:srgbClr val="440099"/>
                </a:solidFill>
                <a:latin typeface="Calibri"/>
                <a:ea typeface="Calibri"/>
                <a:cs typeface="Calibri"/>
              </a:rPr>
              <a:t>DEN'S Federal Small Business Programs are PAUSED...</a:t>
            </a:r>
          </a:p>
        </p:txBody>
      </p:sp>
      <p:sp>
        <p:nvSpPr>
          <p:cNvPr id="15" name="Text Placeholder 14" descr="QR Code redirecting to https://www.flydenver.com/business-and-community/procurement/opportunities/">
            <a:extLst>
              <a:ext uri="{FF2B5EF4-FFF2-40B4-BE49-F238E27FC236}">
                <a16:creationId xmlns:a16="http://schemas.microsoft.com/office/drawing/2014/main" id="{D87F3D45-DCF2-E64E-35CA-C62A35B43D13}"/>
              </a:ext>
            </a:extLst>
          </p:cNvPr>
          <p:cNvSpPr>
            <a:spLocks noGrp="1"/>
          </p:cNvSpPr>
          <p:nvPr>
            <p:ph type="body" sz="quarter" idx="14"/>
          </p:nvPr>
        </p:nvSpPr>
        <p:spPr>
          <a:xfrm>
            <a:off x="770439" y="1323776"/>
            <a:ext cx="9677962" cy="3427931"/>
          </a:xfrm>
        </p:spPr>
        <p:txBody>
          <a:bodyPr lIns="91440" tIns="45720" rIns="91440" bIns="45720" anchor="t"/>
          <a:lstStyle/>
          <a:p>
            <a:pPr marL="0" indent="0">
              <a:lnSpc>
                <a:spcPct val="110000"/>
              </a:lnSpc>
              <a:buNone/>
            </a:pPr>
            <a:r>
              <a:rPr lang="en-US" sz="1800">
                <a:solidFill>
                  <a:srgbClr val="181717"/>
                </a:solidFill>
                <a:ea typeface="Calibri" panose="020F0502020204030204"/>
                <a:cs typeface="Calibri" panose="020F0502020204030204"/>
              </a:rPr>
              <a:t>On October 3, 2025, USDOT issued Interim Final Rule (FR): </a:t>
            </a:r>
            <a:r>
              <a:rPr lang="en-US" sz="1800" b="1">
                <a:solidFill>
                  <a:srgbClr val="181717"/>
                </a:solidFill>
                <a:ea typeface="Calibri" panose="020F0502020204030204"/>
                <a:cs typeface="Calibri" panose="020F0502020204030204"/>
              </a:rPr>
              <a:t>removed presumption of disadvantage </a:t>
            </a:r>
            <a:endParaRPr lang="en-US" sz="1800">
              <a:solidFill>
                <a:srgbClr val="000000"/>
              </a:solidFill>
              <a:ea typeface="Calibri" panose="020F0502020204030204"/>
              <a:cs typeface="Calibri" panose="020F0502020204030204"/>
            </a:endParaRPr>
          </a:p>
          <a:p>
            <a:pPr lvl="1">
              <a:lnSpc>
                <a:spcPct val="110000"/>
              </a:lnSpc>
              <a:buClr>
                <a:srgbClr val="E35B2A"/>
              </a:buClr>
            </a:pPr>
            <a:r>
              <a:rPr lang="en-US" sz="1800">
                <a:solidFill>
                  <a:srgbClr val="181717"/>
                </a:solidFill>
                <a:ea typeface="Calibri" panose="020F0502020204030204"/>
                <a:cs typeface="Calibri" panose="020F0502020204030204"/>
              </a:rPr>
              <a:t>ACDBE and DBE certification reevaluations are actively in progress.</a:t>
            </a:r>
            <a:endParaRPr lang="en-US" sz="1800">
              <a:solidFill>
                <a:srgbClr val="000000"/>
              </a:solidFill>
              <a:ea typeface="Calibri" panose="020F0502020204030204"/>
              <a:cs typeface="Calibri" panose="020F0502020204030204"/>
            </a:endParaRPr>
          </a:p>
          <a:p>
            <a:pPr lvl="1">
              <a:lnSpc>
                <a:spcPct val="110000"/>
              </a:lnSpc>
              <a:buClr>
                <a:srgbClr val="E35B2A"/>
              </a:buClr>
            </a:pPr>
            <a:r>
              <a:rPr lang="en-US" sz="1800" b="1">
                <a:solidFill>
                  <a:srgbClr val="000000"/>
                </a:solidFill>
                <a:ea typeface="Calibri" panose="020F0502020204030204"/>
                <a:cs typeface="Calibri" panose="020F0502020204030204"/>
              </a:rPr>
              <a:t>Interstate firms </a:t>
            </a:r>
            <a:r>
              <a:rPr lang="en-US" sz="1800">
                <a:solidFill>
                  <a:srgbClr val="000000"/>
                </a:solidFill>
                <a:ea typeface="Calibri" panose="020F0502020204030204"/>
                <a:cs typeface="Calibri" panose="020F0502020204030204"/>
              </a:rPr>
              <a:t>must </a:t>
            </a:r>
            <a:r>
              <a:rPr lang="en-US" sz="1800" u="sng">
                <a:solidFill>
                  <a:srgbClr val="000000"/>
                </a:solidFill>
                <a:ea typeface="Calibri" panose="020F0502020204030204"/>
                <a:cs typeface="Calibri" panose="020F0502020204030204"/>
              </a:rPr>
              <a:t>reapply</a:t>
            </a:r>
            <a:r>
              <a:rPr lang="en-US" sz="1800">
                <a:solidFill>
                  <a:srgbClr val="000000"/>
                </a:solidFill>
                <a:ea typeface="Calibri" panose="020F0502020204030204"/>
                <a:cs typeface="Calibri" panose="020F0502020204030204"/>
              </a:rPr>
              <a:t> with CCD once their JOC completes their reevaluation.</a:t>
            </a:r>
          </a:p>
          <a:p>
            <a:pPr lvl="1">
              <a:lnSpc>
                <a:spcPct val="110000"/>
              </a:lnSpc>
              <a:buClr>
                <a:srgbClr val="E35B2A"/>
              </a:buClr>
            </a:pPr>
            <a:r>
              <a:rPr lang="en-US" sz="1800">
                <a:solidFill>
                  <a:srgbClr val="181717"/>
                </a:solidFill>
                <a:ea typeface="Calibri" panose="020F0502020204030204"/>
                <a:cs typeface="Calibri" panose="020F0502020204030204"/>
              </a:rPr>
              <a:t>Firms that did not submit their application by 1/16/2026 have been "delisted"</a:t>
            </a:r>
          </a:p>
          <a:p>
            <a:pPr lvl="1">
              <a:lnSpc>
                <a:spcPct val="110000"/>
              </a:lnSpc>
              <a:buClr>
                <a:srgbClr val="E35B2A"/>
              </a:buClr>
            </a:pPr>
            <a:r>
              <a:rPr lang="en-US" sz="1800">
                <a:solidFill>
                  <a:srgbClr val="181717"/>
                </a:solidFill>
              </a:rPr>
              <a:t>Submit Applications </a:t>
            </a:r>
            <a:r>
              <a:rPr lang="en-US" sz="1800">
                <a:solidFill>
                  <a:srgbClr val="181717"/>
                </a:solidFill>
                <a:hlinkClick r:id="rId3"/>
              </a:rPr>
              <a:t>ONLINE</a:t>
            </a:r>
            <a:r>
              <a:rPr lang="en-US" sz="1800">
                <a:solidFill>
                  <a:srgbClr val="181717"/>
                </a:solidFill>
              </a:rPr>
              <a:t>:  "</a:t>
            </a:r>
            <a:r>
              <a:rPr lang="en-US" sz="1800" i="1">
                <a:solidFill>
                  <a:srgbClr val="181717"/>
                </a:solidFill>
              </a:rPr>
              <a:t>25 Reevaluation Application" </a:t>
            </a:r>
            <a:endParaRPr lang="en-US" sz="1800" i="1">
              <a:solidFill>
                <a:srgbClr val="181717"/>
              </a:solidFill>
              <a:ea typeface="Calibri" panose="020F0502020204030204"/>
              <a:cs typeface="Calibri" panose="020F0502020204030204"/>
            </a:endParaRPr>
          </a:p>
          <a:p>
            <a:pPr lvl="1">
              <a:lnSpc>
                <a:spcPct val="110000"/>
              </a:lnSpc>
              <a:buClr>
                <a:srgbClr val="E35B2A"/>
              </a:buClr>
            </a:pPr>
            <a:r>
              <a:rPr lang="en-US" sz="1800">
                <a:solidFill>
                  <a:srgbClr val="181717"/>
                </a:solidFill>
                <a:ea typeface="Calibri" panose="020F0502020204030204"/>
                <a:cs typeface="Calibri" panose="020F0502020204030204"/>
              </a:rPr>
              <a:t>No counting or goal setting until entire Colorado UCP reevaluation is complete. </a:t>
            </a:r>
            <a:endParaRPr lang="en-US" sz="1800">
              <a:solidFill>
                <a:srgbClr val="000000"/>
              </a:solidFill>
              <a:ea typeface="Calibri" panose="020F0502020204030204"/>
              <a:cs typeface="Calibri" panose="020F0502020204030204"/>
            </a:endParaRPr>
          </a:p>
          <a:p>
            <a:pPr lvl="1">
              <a:lnSpc>
                <a:spcPct val="110000"/>
              </a:lnSpc>
              <a:buClr>
                <a:srgbClr val="E35B2A"/>
              </a:buClr>
            </a:pPr>
            <a:r>
              <a:rPr lang="en-US" sz="1800" b="1">
                <a:solidFill>
                  <a:srgbClr val="000000"/>
                </a:solidFill>
                <a:ea typeface="Calibri" panose="020F0502020204030204"/>
                <a:cs typeface="Calibri" panose="020F0502020204030204"/>
              </a:rPr>
              <a:t>Local programs (MWBE, SBE, SBEC, EBE) are not affected by these federal changes.</a:t>
            </a:r>
            <a:endParaRPr lang="en-US" sz="1800" b="1">
              <a:solidFill>
                <a:srgbClr val="181717"/>
              </a:solidFill>
              <a:ea typeface="Calibri" panose="020F0502020204030204"/>
              <a:cs typeface="Calibri" panose="020F0502020204030204"/>
            </a:endParaRPr>
          </a:p>
          <a:p>
            <a:pPr marL="457200" lvl="1" indent="0">
              <a:lnSpc>
                <a:spcPct val="110000"/>
              </a:lnSpc>
              <a:buNone/>
            </a:pPr>
            <a:endParaRPr lang="en-US" sz="1800">
              <a:solidFill>
                <a:srgbClr val="181717"/>
              </a:solidFill>
              <a:ea typeface="Calibri" panose="020F0502020204030204"/>
              <a:cs typeface="Calibri" panose="020F0502020204030204"/>
            </a:endParaRPr>
          </a:p>
          <a:p>
            <a:pPr marL="457200" lvl="1" indent="0">
              <a:lnSpc>
                <a:spcPct val="110000"/>
              </a:lnSpc>
              <a:buNone/>
            </a:pPr>
            <a:endParaRPr lang="en-US" sz="1800">
              <a:ea typeface="Calibri"/>
              <a:cs typeface="Calibri"/>
            </a:endParaRPr>
          </a:p>
          <a:p>
            <a:pPr marL="0" indent="0">
              <a:buNone/>
            </a:pPr>
            <a:endParaRPr lang="en-US" sz="1800" u="sng">
              <a:solidFill>
                <a:srgbClr val="181717"/>
              </a:solidFill>
              <a:ea typeface="Calibri"/>
              <a:cs typeface="Calibri"/>
            </a:endParaRPr>
          </a:p>
          <a:p>
            <a:pPr marL="457200" lvl="1" indent="0">
              <a:lnSpc>
                <a:spcPct val="110000"/>
              </a:lnSpc>
              <a:buNone/>
            </a:pPr>
            <a:endParaRPr lang="en-US" sz="1800" b="1">
              <a:solidFill>
                <a:srgbClr val="000000"/>
              </a:solidFill>
              <a:ea typeface="Calibri"/>
              <a:cs typeface="Calibri"/>
            </a:endParaRPr>
          </a:p>
        </p:txBody>
      </p:sp>
    </p:spTree>
    <p:extLst>
      <p:ext uri="{BB962C8B-B14F-4D97-AF65-F5344CB8AC3E}">
        <p14:creationId xmlns:p14="http://schemas.microsoft.com/office/powerpoint/2010/main" val="8420549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898D63-AC88-6B3F-47C7-393EB7D9E4A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FE0748C-D177-9B3A-34CD-E5593CD51A26}"/>
              </a:ext>
            </a:extLst>
          </p:cNvPr>
          <p:cNvSpPr>
            <a:spLocks noGrp="1"/>
          </p:cNvSpPr>
          <p:nvPr>
            <p:ph type="title" idx="4294967295"/>
          </p:nvPr>
        </p:nvSpPr>
        <p:spPr>
          <a:xfrm>
            <a:off x="719639" y="410677"/>
            <a:ext cx="10515600" cy="1325563"/>
          </a:xfrm>
          <a:prstGeom prst="rect">
            <a:avLst/>
          </a:prstGeom>
        </p:spPr>
        <p:txBody>
          <a:bodyPr/>
          <a:lstStyle/>
          <a:p>
            <a:r>
              <a:rPr lang="en-US" sz="3600">
                <a:solidFill>
                  <a:srgbClr val="440099"/>
                </a:solidFill>
              </a:rPr>
              <a:t>...but Small Business Opportunities are NOT!</a:t>
            </a:r>
            <a:endParaRPr lang="en-US" sz="3600">
              <a:solidFill>
                <a:srgbClr val="440099"/>
              </a:solidFill>
              <a:ea typeface="Calibri"/>
              <a:cs typeface="Calibri"/>
            </a:endParaRPr>
          </a:p>
        </p:txBody>
      </p:sp>
      <p:sp>
        <p:nvSpPr>
          <p:cNvPr id="7" name="Text Placeholder 6">
            <a:extLst>
              <a:ext uri="{FF2B5EF4-FFF2-40B4-BE49-F238E27FC236}">
                <a16:creationId xmlns:a16="http://schemas.microsoft.com/office/drawing/2014/main" id="{CB6E8D9B-2A09-F1B1-F0B6-CF8D471E051E}"/>
              </a:ext>
            </a:extLst>
          </p:cNvPr>
          <p:cNvSpPr>
            <a:spLocks noGrp="1"/>
          </p:cNvSpPr>
          <p:nvPr>
            <p:ph type="body" sz="quarter" idx="14"/>
          </p:nvPr>
        </p:nvSpPr>
        <p:spPr>
          <a:xfrm>
            <a:off x="719639" y="1127908"/>
            <a:ext cx="9599046" cy="578319"/>
          </a:xfrm>
        </p:spPr>
        <p:txBody>
          <a:bodyPr lIns="91440" tIns="45720" rIns="91440" bIns="45720" anchor="t"/>
          <a:lstStyle/>
          <a:p>
            <a:pPr marL="0" lvl="0" indent="0">
              <a:spcBef>
                <a:spcPts val="0"/>
              </a:spcBef>
              <a:buClrTx/>
              <a:buSzTx/>
              <a:buNone/>
              <a:defRPr/>
            </a:pPr>
            <a:r>
              <a:rPr lang="en-US" sz="1800">
                <a:latin typeface="Calibri"/>
                <a:ea typeface="Calibri"/>
                <a:cs typeface="Calibri"/>
              </a:rPr>
              <a:t>The</a:t>
            </a:r>
            <a:r>
              <a:rPr lang="en-US" sz="1800" b="1">
                <a:solidFill>
                  <a:srgbClr val="000000"/>
                </a:solidFill>
                <a:latin typeface="Calibri"/>
                <a:ea typeface="Calibri"/>
                <a:cs typeface="Calibri"/>
              </a:rPr>
              <a:t> </a:t>
            </a:r>
            <a:r>
              <a:rPr lang="en-US" sz="1800" b="1">
                <a:solidFill>
                  <a:srgbClr val="E35B2A"/>
                </a:solidFill>
                <a:latin typeface="Calibri"/>
                <a:ea typeface="Calibri"/>
                <a:cs typeface="Calibri"/>
              </a:rPr>
              <a:t>Small Business Enterprise Concessions (SBEC) </a:t>
            </a:r>
            <a:r>
              <a:rPr lang="en-US" sz="1800">
                <a:latin typeface="Calibri"/>
                <a:ea typeface="Calibri"/>
                <a:cs typeface="Calibri"/>
              </a:rPr>
              <a:t>program is a </a:t>
            </a:r>
            <a:r>
              <a:rPr lang="en-US" sz="1800" b="1">
                <a:solidFill>
                  <a:srgbClr val="E35B2A"/>
                </a:solidFill>
                <a:latin typeface="Calibri"/>
                <a:ea typeface="Calibri"/>
                <a:cs typeface="Calibri"/>
              </a:rPr>
              <a:t>locally funded, race- and gender-neutral </a:t>
            </a:r>
            <a:r>
              <a:rPr lang="en-US" sz="1800">
                <a:latin typeface="Calibri"/>
                <a:ea typeface="Calibri"/>
                <a:cs typeface="Calibri"/>
              </a:rPr>
              <a:t>program following </a:t>
            </a:r>
            <a:r>
              <a:rPr lang="en-US" sz="1800" b="1">
                <a:latin typeface="Calibri"/>
                <a:ea typeface="Calibri"/>
                <a:cs typeface="Calibri"/>
              </a:rPr>
              <a:t>Chapter 28</a:t>
            </a:r>
            <a:r>
              <a:rPr lang="en-US" sz="1800">
                <a:latin typeface="Calibri"/>
                <a:ea typeface="Calibri"/>
                <a:cs typeface="Calibri"/>
              </a:rPr>
              <a:t>,</a:t>
            </a:r>
            <a:r>
              <a:rPr lang="en-US" sz="1800" b="1">
                <a:latin typeface="Calibri"/>
                <a:ea typeface="Calibri"/>
                <a:cs typeface="Calibri"/>
              </a:rPr>
              <a:t> Article 7 </a:t>
            </a:r>
            <a:r>
              <a:rPr lang="en-US" sz="1800">
                <a:latin typeface="Calibri"/>
                <a:ea typeface="Calibri"/>
                <a:cs typeface="Calibri"/>
              </a:rPr>
              <a:t>of the </a:t>
            </a:r>
            <a:r>
              <a:rPr lang="en-US" sz="1800" b="1">
                <a:latin typeface="Calibri"/>
                <a:ea typeface="Calibri"/>
                <a:cs typeface="Calibri"/>
              </a:rPr>
              <a:t>Denver Revised Municipal Code (DRMC).</a:t>
            </a:r>
          </a:p>
          <a:p>
            <a:pPr marL="0" indent="0">
              <a:buNone/>
            </a:pPr>
            <a:endParaRPr lang="en-US" sz="1800"/>
          </a:p>
        </p:txBody>
      </p:sp>
      <p:sp>
        <p:nvSpPr>
          <p:cNvPr id="11" name="TextBox 10">
            <a:extLst>
              <a:ext uri="{FF2B5EF4-FFF2-40B4-BE49-F238E27FC236}">
                <a16:creationId xmlns:a16="http://schemas.microsoft.com/office/drawing/2014/main" id="{5AC59534-46BC-9D99-2389-D7ADB3F5E030}"/>
              </a:ext>
            </a:extLst>
          </p:cNvPr>
          <p:cNvSpPr txBox="1"/>
          <p:nvPr/>
        </p:nvSpPr>
        <p:spPr>
          <a:xfrm>
            <a:off x="719640" y="1992881"/>
            <a:ext cx="5124333" cy="3970318"/>
          </a:xfrm>
          <a:prstGeom prst="rect">
            <a:avLst/>
          </a:prstGeom>
          <a:noFill/>
        </p:spPr>
        <p:txBody>
          <a:bodyPr wrap="square" lIns="91440" tIns="45720" rIns="91440" bIns="45720" anchor="t">
            <a:spAutoFit/>
          </a:bodyPr>
          <a:lstStyle/>
          <a:p>
            <a:pPr marL="0" indent="0">
              <a:buNone/>
              <a:defRPr/>
            </a:pPr>
            <a:r>
              <a:rPr lang="en-US" b="1">
                <a:solidFill>
                  <a:srgbClr val="000000"/>
                </a:solidFill>
                <a:latin typeface="Calibri" panose="020F0502020204030204" pitchFamily="34" charset="0"/>
                <a:ea typeface="Calibri" panose="020F0502020204030204" pitchFamily="34" charset="0"/>
                <a:cs typeface="Calibri" panose="020F0502020204030204" pitchFamily="34" charset="0"/>
              </a:rPr>
              <a:t>Certification Requirements:</a:t>
            </a:r>
          </a:p>
          <a:p>
            <a:pPr>
              <a:buClr>
                <a:schemeClr val="tx1"/>
              </a:buClr>
              <a:defRPr/>
            </a:pPr>
            <a:r>
              <a:rPr lang="en-US">
                <a:solidFill>
                  <a:srgbClr val="000000"/>
                </a:solidFill>
                <a:latin typeface="Calibri"/>
                <a:ea typeface="Calibri"/>
                <a:cs typeface="Calibri"/>
              </a:rPr>
              <a:t>Maintained by the </a:t>
            </a:r>
            <a:r>
              <a:rPr lang="en-US">
                <a:latin typeface="Calibri"/>
                <a:ea typeface="Calibri"/>
                <a:cs typeface="Calibri"/>
              </a:rPr>
              <a:t>City and County of Denver 's </a:t>
            </a:r>
            <a:r>
              <a:rPr lang="en-US" b="1">
                <a:latin typeface="Calibri"/>
                <a:ea typeface="Calibri"/>
                <a:cs typeface="Calibri"/>
              </a:rPr>
              <a:t>Division of Small Business Opportunity</a:t>
            </a:r>
          </a:p>
          <a:p>
            <a:pPr marL="285750" indent="-285750">
              <a:buClr>
                <a:srgbClr val="E35B2A"/>
              </a:buClr>
              <a:buFont typeface="Arial" panose="020B0604020202020204" pitchFamily="34" charset="0"/>
              <a:buChar char="•"/>
            </a:pPr>
            <a:r>
              <a:rPr lang="en-US" kern="100">
                <a:solidFill>
                  <a:srgbClr val="181717"/>
                </a:solidFill>
                <a:latin typeface="Calibri" panose="020F0502020204030204" pitchFamily="34" charset="0"/>
                <a:ea typeface="Calibri" panose="020F0502020204030204" pitchFamily="34" charset="0"/>
                <a:cs typeface="Calibri" panose="020F0502020204030204" pitchFamily="34" charset="0"/>
              </a:rPr>
              <a:t>$200 new application fee, $50 yearly renewal application fee</a:t>
            </a:r>
            <a:endParaRPr lang="en-US" kern="10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285750" indent="-285750">
              <a:buClr>
                <a:srgbClr val="E35B2A"/>
              </a:buClr>
              <a:buFont typeface="Arial" panose="020B0604020202020204" pitchFamily="34" charset="0"/>
              <a:buChar char="•"/>
            </a:pPr>
            <a:r>
              <a:rPr lang="en-US" kern="100">
                <a:solidFill>
                  <a:srgbClr val="181717"/>
                </a:solidFill>
                <a:latin typeface="Calibri" panose="020F0502020204030204" pitchFamily="34" charset="0"/>
                <a:ea typeface="Calibri" panose="020F0502020204030204" pitchFamily="34" charset="0"/>
                <a:cs typeface="Calibri" panose="020F0502020204030204" pitchFamily="34" charset="0"/>
              </a:rPr>
              <a:t>Must be: </a:t>
            </a:r>
          </a:p>
          <a:p>
            <a:pPr marL="742950" lvl="1" indent="-285750">
              <a:buClr>
                <a:srgbClr val="E35B2A"/>
              </a:buClr>
              <a:buFont typeface="Arial" panose="020B0604020202020204" pitchFamily="34" charset="0"/>
              <a:buChar char="•"/>
            </a:pPr>
            <a:r>
              <a:rPr lang="en-US" kern="100">
                <a:solidFill>
                  <a:srgbClr val="181717"/>
                </a:solidFill>
                <a:latin typeface="Calibri"/>
                <a:ea typeface="Calibri"/>
                <a:cs typeface="Calibri"/>
              </a:rPr>
              <a:t>Owned </a:t>
            </a:r>
            <a:r>
              <a:rPr lang="en-US" b="1" kern="100">
                <a:solidFill>
                  <a:srgbClr val="181717"/>
                </a:solidFill>
                <a:latin typeface="Calibri"/>
                <a:ea typeface="Calibri"/>
                <a:cs typeface="Calibri"/>
              </a:rPr>
              <a:t>and</a:t>
            </a:r>
            <a:r>
              <a:rPr lang="en-US" kern="100">
                <a:solidFill>
                  <a:srgbClr val="181717"/>
                </a:solidFill>
                <a:latin typeface="Calibri"/>
                <a:ea typeface="Calibri"/>
                <a:cs typeface="Calibri"/>
              </a:rPr>
              <a:t> controlled by one or more </a:t>
            </a:r>
            <a:r>
              <a:rPr lang="en-US" i="1" kern="100">
                <a:solidFill>
                  <a:srgbClr val="181717"/>
                </a:solidFill>
                <a:latin typeface="Calibri"/>
                <a:ea typeface="Calibri"/>
                <a:cs typeface="Calibri"/>
              </a:rPr>
              <a:t>economically</a:t>
            </a:r>
            <a:r>
              <a:rPr lang="en-US" kern="100">
                <a:solidFill>
                  <a:srgbClr val="181717"/>
                </a:solidFill>
                <a:latin typeface="Calibri"/>
                <a:ea typeface="Calibri"/>
                <a:cs typeface="Calibri"/>
              </a:rPr>
              <a:t> disadvantaged individual:</a:t>
            </a:r>
          </a:p>
          <a:p>
            <a:pPr marL="1200150" lvl="2" indent="-285750">
              <a:buClr>
                <a:srgbClr val="E35B2A"/>
              </a:buClr>
              <a:buFont typeface="Arial" panose="020B0604020202020204" pitchFamily="34" charset="0"/>
              <a:buChar char="•"/>
            </a:pPr>
            <a:r>
              <a:rPr lang="en-US" kern="100">
                <a:solidFill>
                  <a:srgbClr val="181717"/>
                </a:solidFill>
                <a:latin typeface="Calibri" panose="020F0502020204030204" pitchFamily="34" charset="0"/>
                <a:ea typeface="Calibri" panose="020F0502020204030204" pitchFamily="34" charset="0"/>
                <a:cs typeface="Calibri" panose="020F0502020204030204" pitchFamily="34" charset="0"/>
              </a:rPr>
              <a:t>Business Size: Average revenue (5-year period) under the Small Business Association (SBA) size standard </a:t>
            </a:r>
          </a:p>
          <a:p>
            <a:pPr marL="742950" lvl="1" indent="-285750">
              <a:buClr>
                <a:srgbClr val="E35B2A"/>
              </a:buClr>
              <a:buFont typeface="Arial" panose="020B0604020202020204" pitchFamily="34" charset="0"/>
              <a:buChar char="•"/>
            </a:pPr>
            <a:r>
              <a:rPr lang="en-US" kern="100">
                <a:solidFill>
                  <a:srgbClr val="181717"/>
                </a:solidFill>
                <a:latin typeface="Calibri" panose="020F0502020204030204" pitchFamily="34" charset="0"/>
                <a:ea typeface="Calibri" panose="020F0502020204030204" pitchFamily="34" charset="0"/>
                <a:cs typeface="Calibri" panose="020F0502020204030204" pitchFamily="34" charset="0"/>
              </a:rPr>
              <a:t>US citizens or lawful permanent residents of the US</a:t>
            </a:r>
            <a:endParaRPr lang="en-US" kern="10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742950" lvl="1" indent="-285750">
              <a:buClr>
                <a:srgbClr val="E35B2A"/>
              </a:buClr>
              <a:buFont typeface="Arial" panose="020B0604020202020204" pitchFamily="34" charset="0"/>
              <a:buChar char="•"/>
            </a:pPr>
            <a:r>
              <a:rPr lang="en-US" kern="100">
                <a:solidFill>
                  <a:srgbClr val="181717"/>
                </a:solidFill>
                <a:latin typeface="Calibri" panose="020F0502020204030204" pitchFamily="34" charset="0"/>
                <a:ea typeface="Calibri" panose="020F0502020204030204" pitchFamily="34" charset="0"/>
                <a:cs typeface="Calibri" panose="020F0502020204030204" pitchFamily="34" charset="0"/>
              </a:rPr>
              <a:t>Actively in business for at least 6 months</a:t>
            </a:r>
          </a:p>
        </p:txBody>
      </p:sp>
      <p:sp>
        <p:nvSpPr>
          <p:cNvPr id="9" name="TextBox 8">
            <a:extLst>
              <a:ext uri="{FF2B5EF4-FFF2-40B4-BE49-F238E27FC236}">
                <a16:creationId xmlns:a16="http://schemas.microsoft.com/office/drawing/2014/main" id="{FA8BB7B8-0D68-EECF-364B-5A514DEE3EE6}"/>
              </a:ext>
            </a:extLst>
          </p:cNvPr>
          <p:cNvSpPr txBox="1"/>
          <p:nvPr/>
        </p:nvSpPr>
        <p:spPr>
          <a:xfrm>
            <a:off x="5517124" y="1994493"/>
            <a:ext cx="5027045" cy="2585323"/>
          </a:xfrm>
          <a:prstGeom prst="rect">
            <a:avLst/>
          </a:prstGeom>
          <a:noFill/>
        </p:spPr>
        <p:txBody>
          <a:bodyPr wrap="square" lIns="91440" tIns="45720" rIns="91440" bIns="45720" anchor="t">
            <a:spAutoFit/>
          </a:bodyPr>
          <a:lstStyle/>
          <a:p>
            <a:pPr marL="0" indent="0">
              <a:buNone/>
            </a:pPr>
            <a:r>
              <a:rPr lang="en-US" b="1">
                <a:latin typeface="Calibri" panose="020F0502020204030204" pitchFamily="34" charset="0"/>
                <a:ea typeface="Calibri" panose="020F0502020204030204" pitchFamily="34" charset="0"/>
                <a:cs typeface="Calibri" panose="020F0502020204030204" pitchFamily="34" charset="0"/>
              </a:rPr>
              <a:t>Contract </a:t>
            </a:r>
            <a:r>
              <a:rPr lang="en-US" b="1">
                <a:solidFill>
                  <a:srgbClr val="000000"/>
                </a:solidFill>
                <a:latin typeface="Calibri" panose="020F0502020204030204" pitchFamily="34" charset="0"/>
                <a:ea typeface="Calibri" panose="020F0502020204030204" pitchFamily="34" charset="0"/>
                <a:cs typeface="Calibri" panose="020F0502020204030204" pitchFamily="34" charset="0"/>
              </a:rPr>
              <a:t>Requirements:</a:t>
            </a:r>
          </a:p>
          <a:p>
            <a:pPr marL="342900" indent="-342900">
              <a:buClr>
                <a:schemeClr val="tx1"/>
              </a:buClr>
              <a:buAutoNum type="arabicPeriod"/>
              <a:defRPr/>
            </a:pPr>
            <a:r>
              <a:rPr lang="en-US">
                <a:solidFill>
                  <a:srgbClr val="E35B2A"/>
                </a:solidFill>
                <a:latin typeface="Calibri"/>
                <a:ea typeface="Calibri"/>
                <a:cs typeface="Calibri"/>
              </a:rPr>
              <a:t>SBEC Defined Pool: </a:t>
            </a:r>
            <a:r>
              <a:rPr lang="en-US">
                <a:latin typeface="Calibri"/>
                <a:ea typeface="Calibri"/>
                <a:cs typeface="Calibri"/>
              </a:rPr>
              <a:t>Concession must be </a:t>
            </a:r>
            <a:r>
              <a:rPr lang="en-US" u="sng">
                <a:latin typeface="Calibri"/>
                <a:ea typeface="Calibri"/>
                <a:cs typeface="Calibri"/>
              </a:rPr>
              <a:t>directly</a:t>
            </a:r>
            <a:r>
              <a:rPr lang="en-US">
                <a:latin typeface="Calibri"/>
                <a:ea typeface="Calibri"/>
                <a:cs typeface="Calibri"/>
              </a:rPr>
              <a:t> owned and operated by </a:t>
            </a:r>
            <a:r>
              <a:rPr lang="en-US" b="1">
                <a:latin typeface="Calibri"/>
                <a:ea typeface="Calibri"/>
                <a:cs typeface="Calibri"/>
              </a:rPr>
              <a:t>certified</a:t>
            </a:r>
            <a:r>
              <a:rPr lang="en-US">
                <a:latin typeface="Calibri"/>
                <a:ea typeface="Calibri"/>
                <a:cs typeface="Calibri"/>
              </a:rPr>
              <a:t> SBEC firm(s) </a:t>
            </a:r>
            <a:endParaRPr lang="en-US" b="1">
              <a:solidFill>
                <a:srgbClr val="E35B2A"/>
              </a:solidFill>
              <a:latin typeface="Calibri"/>
              <a:ea typeface="Calibri"/>
              <a:cs typeface="Calibri"/>
            </a:endParaRPr>
          </a:p>
          <a:p>
            <a:pPr>
              <a:buClr>
                <a:srgbClr val="000000"/>
              </a:buClr>
              <a:defRPr/>
            </a:pPr>
            <a:r>
              <a:rPr lang="en-US">
                <a:solidFill>
                  <a:srgbClr val="000000"/>
                </a:solidFill>
                <a:latin typeface="Calibri"/>
                <a:ea typeface="Calibri"/>
                <a:cs typeface="Calibri"/>
              </a:rPr>
              <a:t>                                  </a:t>
            </a:r>
            <a:r>
              <a:rPr lang="en-US" b="1">
                <a:solidFill>
                  <a:srgbClr val="000000"/>
                </a:solidFill>
                <a:latin typeface="Calibri"/>
                <a:ea typeface="Calibri"/>
                <a:cs typeface="Calibri"/>
              </a:rPr>
              <a:t>OR </a:t>
            </a:r>
          </a:p>
          <a:p>
            <a:pPr marL="342900" indent="-342900">
              <a:buClr>
                <a:schemeClr val="tx1"/>
              </a:buClr>
              <a:buFont typeface="+mj-lt"/>
              <a:buAutoNum type="arabicPeriod" startAt="2"/>
              <a:defRPr/>
            </a:pPr>
            <a:r>
              <a:rPr lang="en-US">
                <a:solidFill>
                  <a:srgbClr val="E35B2A"/>
                </a:solidFill>
                <a:latin typeface="Calibri"/>
                <a:ea typeface="Calibri"/>
                <a:cs typeface="Calibri"/>
              </a:rPr>
              <a:t>SBEC Concession-specific Goals: </a:t>
            </a:r>
            <a:r>
              <a:rPr lang="en-US">
                <a:solidFill>
                  <a:srgbClr val="000000"/>
                </a:solidFill>
                <a:latin typeface="Calibri"/>
                <a:ea typeface="Calibri"/>
                <a:cs typeface="Calibri"/>
              </a:rPr>
              <a:t>Goal calculated as a percentage of total estimated annual gross revenue/receipts from the concession </a:t>
            </a:r>
          </a:p>
          <a:p>
            <a:pPr marL="800100" lvl="1" indent="-342900">
              <a:buFont typeface="Arial,Sans-Serif" panose="020B0604020202020204" pitchFamily="34" charset="0"/>
              <a:buChar char="•"/>
              <a:defRPr/>
            </a:pPr>
            <a:r>
              <a:rPr lang="en-US">
                <a:solidFill>
                  <a:srgbClr val="000000"/>
                </a:solidFill>
                <a:latin typeface="Calibri"/>
                <a:ea typeface="Calibri"/>
                <a:cs typeface="Calibri"/>
              </a:rPr>
              <a:t>Participation types: Direct Ownership, Joint Venture, or Goods and Services Purchases</a:t>
            </a:r>
            <a:endParaRPr lang="en-US">
              <a:latin typeface="Calibri"/>
              <a:ea typeface="Calibri"/>
              <a:cs typeface="Calibri"/>
            </a:endParaRPr>
          </a:p>
        </p:txBody>
      </p:sp>
      <p:sp>
        <p:nvSpPr>
          <p:cNvPr id="3" name="TextBox 2">
            <a:extLst>
              <a:ext uri="{FF2B5EF4-FFF2-40B4-BE49-F238E27FC236}">
                <a16:creationId xmlns:a16="http://schemas.microsoft.com/office/drawing/2014/main" id="{988BD695-D245-7B37-12E9-21EF2D182D3D}"/>
              </a:ext>
            </a:extLst>
          </p:cNvPr>
          <p:cNvSpPr txBox="1"/>
          <p:nvPr/>
        </p:nvSpPr>
        <p:spPr>
          <a:xfrm>
            <a:off x="5840129" y="4836457"/>
            <a:ext cx="5434640"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u="sng">
                <a:latin typeface="Calibri"/>
                <a:ea typeface="Calibri"/>
                <a:cs typeface="Calibri"/>
              </a:rPr>
              <a:t>SBEC Defined Pool by the Numbers:</a:t>
            </a:r>
            <a:endParaRPr lang="en-US" u="sng">
              <a:latin typeface="Calibri"/>
              <a:ea typeface="Calibri"/>
              <a:cs typeface="Calibri"/>
            </a:endParaRPr>
          </a:p>
          <a:p>
            <a:pPr marL="342900" indent="-342900">
              <a:buFont typeface="Arial"/>
              <a:buChar char="•"/>
            </a:pPr>
            <a:r>
              <a:rPr lang="en-US" b="1">
                <a:solidFill>
                  <a:srgbClr val="E35B2A"/>
                </a:solidFill>
                <a:latin typeface="Calibri"/>
                <a:ea typeface="Calibri"/>
                <a:cs typeface="Calibri"/>
              </a:rPr>
              <a:t>Currently Operating: Seven (7) locations  </a:t>
            </a:r>
            <a:endParaRPr lang="en-US" b="1">
              <a:latin typeface="Calibri"/>
              <a:ea typeface="Calibri"/>
              <a:cs typeface="Calibri"/>
            </a:endParaRPr>
          </a:p>
          <a:p>
            <a:pPr marL="342900" indent="-342900">
              <a:buFont typeface="Arial"/>
              <a:buChar char="•"/>
            </a:pPr>
            <a:r>
              <a:rPr lang="en-US" b="1">
                <a:solidFill>
                  <a:srgbClr val="E35B2A"/>
                </a:solidFill>
                <a:latin typeface="Calibri"/>
                <a:ea typeface="Calibri"/>
                <a:cs typeface="Calibri"/>
              </a:rPr>
              <a:t>2025 RFPs: Travel Convenience Marketplace, Concessions FastTrack, Grab-N-Go Marketplace</a:t>
            </a:r>
          </a:p>
          <a:p>
            <a:pPr marL="342900" indent="-342900">
              <a:buFont typeface="Arial"/>
              <a:buChar char="•"/>
            </a:pPr>
            <a:r>
              <a:rPr lang="en-US" b="1">
                <a:solidFill>
                  <a:srgbClr val="E35B2A"/>
                </a:solidFill>
                <a:latin typeface="Calibri"/>
                <a:ea typeface="Calibri"/>
                <a:cs typeface="Calibri"/>
              </a:rPr>
              <a:t>2026 RFPs: At least four (4) planned!</a:t>
            </a:r>
          </a:p>
          <a:p>
            <a:endParaRPr lang="en-US">
              <a:latin typeface="Calibri"/>
              <a:ea typeface="Calibri"/>
              <a:cs typeface="Calibri"/>
            </a:endParaRPr>
          </a:p>
        </p:txBody>
      </p:sp>
    </p:spTree>
    <p:extLst>
      <p:ext uri="{BB962C8B-B14F-4D97-AF65-F5344CB8AC3E}">
        <p14:creationId xmlns:p14="http://schemas.microsoft.com/office/powerpoint/2010/main" val="21742436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itle 87">
            <a:extLst>
              <a:ext uri="{FF2B5EF4-FFF2-40B4-BE49-F238E27FC236}">
                <a16:creationId xmlns:a16="http://schemas.microsoft.com/office/drawing/2014/main" id="{20685B12-1BDE-1ECF-6541-5B20E622E229}"/>
              </a:ext>
            </a:extLst>
          </p:cNvPr>
          <p:cNvSpPr>
            <a:spLocks noGrp="1"/>
          </p:cNvSpPr>
          <p:nvPr>
            <p:ph type="title" idx="4294967295"/>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t>Click to edit Master title style</a:t>
            </a:r>
          </a:p>
        </p:txBody>
      </p:sp>
      <p:pic>
        <p:nvPicPr>
          <p:cNvPr id="87" name="Picture 86" descr="What are Vision 100 and Operation 2045?&#10;Vision: To Emerge as the Nation’s Preeminent Aviation Thought Leader&#10;&#10;Mission: Through the Power of our People, Be the Best in Class&#10;&#10;Vision 100 and Operation 2045 are two phases of DEN’s strategic plan. Vision 100 is phase one and is focused on preparing the airport to serve 100 million annual passengers in the next several years. Operation 2045 is phase two and is focused on preparing the airport for its 50th anniversary in 2045 and for an expected 120 million-plus annual passengers. Both phases combined serve as a blueprint to align decision-making and accountability.">
            <a:extLst>
              <a:ext uri="{FF2B5EF4-FFF2-40B4-BE49-F238E27FC236}">
                <a16:creationId xmlns:a16="http://schemas.microsoft.com/office/drawing/2014/main" id="{A8486EBD-668B-5B8C-8D5F-EDADD8DA834E}"/>
              </a:ext>
            </a:extLst>
          </p:cNvPr>
          <p:cNvPicPr>
            <a:picLocks noChangeAspect="1"/>
          </p:cNvPicPr>
          <p:nvPr/>
        </p:nvPicPr>
        <p:blipFill>
          <a:blip r:embed="rId3"/>
          <a:stretch>
            <a:fillRect/>
          </a:stretch>
        </p:blipFill>
        <p:spPr>
          <a:xfrm>
            <a:off x="15664" y="0"/>
            <a:ext cx="12160671" cy="6858000"/>
          </a:xfrm>
          <a:prstGeom prst="rect">
            <a:avLst/>
          </a:prstGeom>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2EC06A-DFC9-83FF-F1A4-267124C5715A}"/>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BCDE804D-D84B-D319-2F34-596F1310CA08}"/>
              </a:ext>
            </a:extLst>
          </p:cNvPr>
          <p:cNvSpPr>
            <a:spLocks noGrp="1"/>
          </p:cNvSpPr>
          <p:nvPr>
            <p:ph type="title" idx="4294967295"/>
          </p:nvPr>
        </p:nvSpPr>
        <p:spPr>
          <a:xfrm>
            <a:off x="2359839" y="1040045"/>
            <a:ext cx="8694737" cy="1189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latin typeface="Calibri Light"/>
                <a:ea typeface="Calibri Light"/>
                <a:cs typeface="Calibri Light"/>
              </a:rPr>
              <a:t>Division of Small Business Opportunity</a:t>
            </a:r>
            <a:br>
              <a:rPr lang="en-US" sz="3600" b="0" i="0" u="none" strike="noStrike" kern="1200" cap="none" spc="0" normalizeH="0" baseline="0" noProof="0">
                <a:ln>
                  <a:noFill/>
                </a:ln>
                <a:effectLst/>
                <a:uLnTx/>
                <a:uFillTx/>
                <a:latin typeface="Calibri Light"/>
                <a:ea typeface="Calibri Light"/>
                <a:cs typeface="Calibri Light"/>
              </a:rPr>
            </a:br>
            <a:endParaRPr lang="en-US" sz="3600" b="0" i="0" u="none" strike="noStrike" kern="1200" cap="none" spc="0" normalizeH="0" baseline="0" noProof="0">
              <a:ln>
                <a:noFill/>
              </a:ln>
              <a:solidFill>
                <a:schemeClr val="bg1"/>
              </a:solidFill>
              <a:effectLst/>
              <a:uLnTx/>
              <a:uFillTx/>
              <a:latin typeface="Calibri Light"/>
              <a:ea typeface="Calibri"/>
              <a:cs typeface="Calibri"/>
            </a:endParaRPr>
          </a:p>
        </p:txBody>
      </p:sp>
    </p:spTree>
    <p:extLst>
      <p:ext uri="{BB962C8B-B14F-4D97-AF65-F5344CB8AC3E}">
        <p14:creationId xmlns:p14="http://schemas.microsoft.com/office/powerpoint/2010/main" val="16758077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C7531-D8A2-319C-F235-41ABCD2A7F09}"/>
              </a:ext>
            </a:extLst>
          </p:cNvPr>
          <p:cNvSpPr>
            <a:spLocks noGrp="1"/>
          </p:cNvSpPr>
          <p:nvPr>
            <p:ph type="title"/>
          </p:nvPr>
        </p:nvSpPr>
        <p:spPr>
          <a:xfrm>
            <a:off x="558321" y="-2276"/>
            <a:ext cx="11501886" cy="1290639"/>
          </a:xfrm>
        </p:spPr>
        <p:txBody>
          <a:bodyPr>
            <a:normAutofit fontScale="90000"/>
          </a:bodyPr>
          <a:lstStyle/>
          <a:p>
            <a:pPr algn="ctr"/>
            <a:r>
              <a:rPr lang="en-US" sz="5050"/>
              <a:t>Division of Small Business Opportunity (DSBO)</a:t>
            </a:r>
            <a:endParaRPr lang="en-US"/>
          </a:p>
        </p:txBody>
      </p:sp>
      <p:sp>
        <p:nvSpPr>
          <p:cNvPr id="3" name="Content Placeholder 2">
            <a:extLst>
              <a:ext uri="{FF2B5EF4-FFF2-40B4-BE49-F238E27FC236}">
                <a16:creationId xmlns:a16="http://schemas.microsoft.com/office/drawing/2014/main" id="{4C2ACFBC-0F06-E295-C4B4-4A38892A85EC}"/>
              </a:ext>
            </a:extLst>
          </p:cNvPr>
          <p:cNvSpPr>
            <a:spLocks noGrp="1"/>
          </p:cNvSpPr>
          <p:nvPr>
            <p:ph idx="1"/>
          </p:nvPr>
        </p:nvSpPr>
        <p:spPr>
          <a:xfrm>
            <a:off x="472057" y="1606310"/>
            <a:ext cx="11257471" cy="2241551"/>
          </a:xfrm>
        </p:spPr>
        <p:txBody>
          <a:bodyPr vert="horz" lIns="91440" tIns="45720" rIns="91440" bIns="45720" rtlCol="0" anchor="t">
            <a:noAutofit/>
          </a:bodyPr>
          <a:lstStyle/>
          <a:p>
            <a:r>
              <a:rPr lang="en-US" sz="1800" b="1"/>
              <a:t>Certification</a:t>
            </a:r>
          </a:p>
          <a:p>
            <a:pPr marL="285750" indent="-285750">
              <a:buFont typeface="Arial"/>
              <a:buChar char="•"/>
            </a:pPr>
            <a:r>
              <a:rPr lang="en-US" sz="1800"/>
              <a:t>Eligible small businesses may apply for Minority and Women Owned Business Enterprise (MWBE), Small Business Enterprise (SBE)/Emerging Business Enterprise (EBE) and Small Business Enterprise (SBEC) certification as well as the federal Disadvantage Business Enterprise (DBE) certification</a:t>
            </a:r>
          </a:p>
          <a:p>
            <a:endParaRPr lang="en-US" sz="1800"/>
          </a:p>
          <a:p>
            <a:r>
              <a:rPr lang="en-US" sz="1800" b="1"/>
              <a:t>Business Utilization </a:t>
            </a:r>
          </a:p>
          <a:p>
            <a:pPr marL="285750" indent="-285750">
              <a:buFont typeface="Arial"/>
              <a:buChar char="•"/>
            </a:pPr>
            <a:r>
              <a:rPr lang="en-US" sz="1800"/>
              <a:t>Assesses city projects across city agencies for opportunities for certified business utilization</a:t>
            </a:r>
          </a:p>
          <a:p>
            <a:endParaRPr lang="en-US" sz="1800"/>
          </a:p>
          <a:p>
            <a:r>
              <a:rPr lang="en-US" sz="1800" b="1"/>
              <a:t>Compliance </a:t>
            </a:r>
          </a:p>
          <a:p>
            <a:pPr marL="285750" indent="-285750">
              <a:buFont typeface="Arial"/>
              <a:buChar char="•"/>
            </a:pPr>
            <a:r>
              <a:rPr lang="en-US" sz="1800"/>
              <a:t>Monitors small business utilization from solicitation through the contract term on projects with small business goals to ensure equity protections and adherence to program requirements</a:t>
            </a:r>
          </a:p>
          <a:p>
            <a:endParaRPr lang="en-US" sz="1800"/>
          </a:p>
          <a:p>
            <a:r>
              <a:rPr lang="en-US" sz="1800" b="1"/>
              <a:t>Community Engagement and Capacity Building</a:t>
            </a:r>
          </a:p>
          <a:p>
            <a:pPr marL="285750" indent="-285750">
              <a:buFont typeface="Arial"/>
              <a:buChar char="•"/>
            </a:pPr>
            <a:r>
              <a:rPr lang="en-US" sz="1800"/>
              <a:t>Networking opportunities and other resources to build certified firm's capacity </a:t>
            </a:r>
          </a:p>
          <a:p>
            <a:pPr marL="285750" indent="-285750">
              <a:buFont typeface="Arial"/>
              <a:buChar char="•"/>
            </a:pPr>
            <a:r>
              <a:rPr lang="en-US" sz="1800"/>
              <a:t>Citywide 2026-2027 Mentor Protégé Application is due by Friday, June 12 at 5pm </a:t>
            </a:r>
          </a:p>
        </p:txBody>
      </p:sp>
      <p:sp>
        <p:nvSpPr>
          <p:cNvPr id="5" name="TextBox 4">
            <a:extLst>
              <a:ext uri="{FF2B5EF4-FFF2-40B4-BE49-F238E27FC236}">
                <a16:creationId xmlns:a16="http://schemas.microsoft.com/office/drawing/2014/main" id="{2325AF21-5B65-438E-3AD1-D3ACD7F59CC9}"/>
              </a:ext>
            </a:extLst>
          </p:cNvPr>
          <p:cNvSpPr txBox="1"/>
          <p:nvPr/>
        </p:nvSpPr>
        <p:spPr>
          <a:xfrm>
            <a:off x="575095" y="970472"/>
            <a:ext cx="1148750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Promoting</a:t>
            </a:r>
            <a:r>
              <a:rPr lang="en-US">
                <a:ea typeface="+mn-lt"/>
                <a:cs typeface="+mn-lt"/>
              </a:rPr>
              <a:t> equity, maximizing opportunities, and preventing discrimination and its effects against small, minority and women owned businesses. </a:t>
            </a:r>
            <a:r>
              <a:rPr lang="en-US">
                <a:ea typeface="+mn-lt"/>
                <a:cs typeface="+mn-lt"/>
                <a:hlinkClick r:id="rId2"/>
              </a:rPr>
              <a:t>D.R.M.C. Chapter 28, Article III</a:t>
            </a:r>
            <a:r>
              <a:rPr lang="en-US">
                <a:ea typeface="+mn-lt"/>
                <a:cs typeface="+mn-lt"/>
              </a:rPr>
              <a:t>, </a:t>
            </a:r>
            <a:r>
              <a:rPr lang="en-US">
                <a:ea typeface="+mn-lt"/>
                <a:cs typeface="+mn-lt"/>
                <a:hlinkClick r:id="rId3"/>
              </a:rPr>
              <a:t>D.R.M.C. Chapter 28, Articles V</a:t>
            </a:r>
            <a:r>
              <a:rPr lang="en-US">
                <a:ea typeface="+mn-lt"/>
                <a:cs typeface="+mn-lt"/>
              </a:rPr>
              <a:t> and </a:t>
            </a:r>
            <a:r>
              <a:rPr lang="en-US">
                <a:ea typeface="+mn-lt"/>
                <a:cs typeface="+mn-lt"/>
                <a:hlinkClick r:id="rId4"/>
              </a:rPr>
              <a:t>VII</a:t>
            </a:r>
            <a:r>
              <a:rPr lang="en-US">
                <a:ea typeface="+mn-lt"/>
                <a:cs typeface="+mn-lt"/>
              </a:rPr>
              <a:t>, </a:t>
            </a:r>
            <a:r>
              <a:rPr lang="en-US">
                <a:ea typeface="+mn-lt"/>
                <a:cs typeface="+mn-lt"/>
                <a:hlinkClick r:id="rId5"/>
              </a:rPr>
              <a:t>49 CFR Part 26</a:t>
            </a:r>
            <a:r>
              <a:rPr lang="en-US">
                <a:ea typeface="+mn-lt"/>
                <a:cs typeface="+mn-lt"/>
              </a:rPr>
              <a:t> </a:t>
            </a:r>
            <a:endParaRPr lang="en-US">
              <a:ea typeface="Calibri"/>
              <a:cs typeface="Calibri"/>
            </a:endParaRPr>
          </a:p>
        </p:txBody>
      </p:sp>
    </p:spTree>
    <p:extLst>
      <p:ext uri="{BB962C8B-B14F-4D97-AF65-F5344CB8AC3E}">
        <p14:creationId xmlns:p14="http://schemas.microsoft.com/office/powerpoint/2010/main" val="40093305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B5848-DC1B-AD07-534C-48ECB9159070}"/>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237E0F8A-3416-46A2-6293-171F2E9F622E}"/>
              </a:ext>
            </a:extLst>
          </p:cNvPr>
          <p:cNvSpPr>
            <a:spLocks noGrp="1"/>
          </p:cNvSpPr>
          <p:nvPr>
            <p:ph type="title" idx="4294967295"/>
          </p:nvPr>
        </p:nvSpPr>
        <p:spPr>
          <a:xfrm>
            <a:off x="2359839" y="1040045"/>
            <a:ext cx="8694737" cy="1189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latin typeface="Calibri Light"/>
                <a:ea typeface="Calibri Light"/>
                <a:cs typeface="Calibri Light"/>
              </a:rPr>
              <a:t>General Services- Purchasing Division</a:t>
            </a:r>
            <a:br>
              <a:rPr lang="en-US" sz="3600" b="0" i="0" u="none" strike="noStrike" kern="1200" cap="none" spc="0" normalizeH="0" baseline="0" noProof="0">
                <a:ln>
                  <a:noFill/>
                </a:ln>
                <a:effectLst/>
                <a:uLnTx/>
                <a:uFillTx/>
                <a:latin typeface="Calibri Light"/>
                <a:ea typeface="Calibri Light"/>
                <a:cs typeface="Calibri Light"/>
              </a:rPr>
            </a:br>
            <a:endParaRPr lang="en-US" sz="3600" b="0" i="0" u="none" strike="noStrike" kern="1200" cap="none" spc="0" normalizeH="0" baseline="0" noProof="0">
              <a:ln>
                <a:noFill/>
              </a:ln>
              <a:solidFill>
                <a:schemeClr val="bg1"/>
              </a:solidFill>
              <a:effectLst/>
              <a:uLnTx/>
              <a:uFillTx/>
              <a:latin typeface="Calibri Light"/>
              <a:ea typeface="Calibri"/>
              <a:cs typeface="Calibri"/>
            </a:endParaRPr>
          </a:p>
        </p:txBody>
      </p:sp>
    </p:spTree>
    <p:extLst>
      <p:ext uri="{BB962C8B-B14F-4D97-AF65-F5344CB8AC3E}">
        <p14:creationId xmlns:p14="http://schemas.microsoft.com/office/powerpoint/2010/main" val="140982018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descr="General Services- Purchasing Division&#10;&#10;Exclusive management and control of the purchasing of all supplies, equipment and personal property and services in connection therewith, for the City and County and for all departments (including DEN), agencies, boards, commissions and authorities thereof, except the City Council.&#10;&#10;&#10;Leann Rush&#10;Senior Procurement Analyst (DEN)&#10;303-342-2298 &#10;leann.rush@flydenver.com &#10;&#10;&#10;Sol Ybarra  &#10;Business Outreach Coordinator  &#10;720-913-8156&#10;sol.ybarra@denvergov.org &#10;&#10;You must be registered in Bidnet&#10;to receive solicitation notices &#10;directly to your email. Please make &#10;to choose the correct codes for your&#10;business.&#10;">
            <a:extLst>
              <a:ext uri="{FF2B5EF4-FFF2-40B4-BE49-F238E27FC236}">
                <a16:creationId xmlns:a16="http://schemas.microsoft.com/office/drawing/2014/main" id="{35F67971-1933-588E-0AFA-D6BBB0F95EAC}"/>
              </a:ext>
              <a:ext uri="{C183D7F6-B498-43B3-948B-1728B52AA6E4}">
                <adec:decorative xmlns:adec="http://schemas.microsoft.com/office/drawing/2017/decorative" val="0"/>
              </a:ext>
            </a:extLst>
          </p:cNvPr>
          <p:cNvSpPr>
            <a:spLocks noGrp="1"/>
          </p:cNvSpPr>
          <p:nvPr>
            <p:ph type="title" idx="4294967295"/>
          </p:nvPr>
        </p:nvSpPr>
        <p:spPr>
          <a:xfrm>
            <a:off x="881349" y="512636"/>
            <a:ext cx="8694738"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440099"/>
                </a:solidFill>
                <a:effectLst/>
                <a:uLnTx/>
                <a:uFillTx/>
                <a:latin typeface="+mn-lt"/>
                <a:ea typeface="+mn-ea"/>
                <a:cs typeface="+mn-cs"/>
              </a:rPr>
              <a:t>General Services- Purchasing Division</a:t>
            </a:r>
          </a:p>
        </p:txBody>
      </p:sp>
      <p:sp>
        <p:nvSpPr>
          <p:cNvPr id="9" name="TextBox 8">
            <a:extLst>
              <a:ext uri="{FF2B5EF4-FFF2-40B4-BE49-F238E27FC236}">
                <a16:creationId xmlns:a16="http://schemas.microsoft.com/office/drawing/2014/main" id="{63544299-965E-0A54-E09A-E896F4B2F43B}"/>
              </a:ext>
            </a:extLst>
          </p:cNvPr>
          <p:cNvSpPr txBox="1"/>
          <p:nvPr/>
        </p:nvSpPr>
        <p:spPr>
          <a:xfrm>
            <a:off x="770439" y="1255125"/>
            <a:ext cx="9125111" cy="4801314"/>
          </a:xfrm>
          <a:prstGeom prst="rect">
            <a:avLst/>
          </a:prstGeom>
          <a:noFill/>
        </p:spPr>
        <p:txBody>
          <a:bodyPr wrap="square">
            <a:spAutoFit/>
          </a:bodyPr>
          <a:lstStyle/>
          <a:p>
            <a:r>
              <a:rPr lang="en-US"/>
              <a:t>Procures goods and related services (excludes construction/design) using competitive bidding and open market methods. Follows City Charter, D.R.M.C., and Fiscal Accountability Rules.</a:t>
            </a:r>
          </a:p>
          <a:p>
            <a:br>
              <a:rPr lang="en-US" b="1"/>
            </a:br>
            <a:r>
              <a:rPr lang="en-US" b="1"/>
              <a:t>Key Roles</a:t>
            </a:r>
            <a:r>
              <a:rPr lang="en-US"/>
              <a:t>: Manages bids, contracts, assets, surplus sales, vendor relations, and sustainable purchasing.</a:t>
            </a:r>
          </a:p>
          <a:p>
            <a:br>
              <a:rPr lang="en-US" b="1"/>
            </a:br>
            <a:r>
              <a:rPr lang="en-US" b="1"/>
              <a:t>Vendor Support</a:t>
            </a:r>
            <a:r>
              <a:rPr lang="en-US"/>
              <a:t>:</a:t>
            </a:r>
          </a:p>
          <a:p>
            <a:pPr marL="742950" lvl="1" indent="-285750">
              <a:buFont typeface="Arial" panose="020B0604020202020204" pitchFamily="34" charset="0"/>
              <a:buChar char="•"/>
            </a:pPr>
            <a:r>
              <a:rPr lang="en-US"/>
              <a:t>Uses </a:t>
            </a:r>
            <a:r>
              <a:rPr lang="en-US">
                <a:hlinkClick r:id="rId3"/>
              </a:rPr>
              <a:t>Rocky Mountain E-Purchasing System (</a:t>
            </a:r>
            <a:r>
              <a:rPr lang="en-US" err="1">
                <a:hlinkClick r:id="rId3"/>
              </a:rPr>
              <a:t>BidNet</a:t>
            </a:r>
            <a:r>
              <a:rPr lang="en-US">
                <a:hlinkClick r:id="rId3"/>
              </a:rPr>
              <a:t>).</a:t>
            </a:r>
            <a:endParaRPr lang="en-US"/>
          </a:p>
          <a:p>
            <a:pPr marL="742950" lvl="1" indent="-285750">
              <a:buFont typeface="Arial" panose="020B0604020202020204" pitchFamily="34" charset="0"/>
              <a:buChar char="•"/>
            </a:pPr>
            <a:r>
              <a:rPr lang="en-US"/>
              <a:t>Offers bid tools, updates, and resources on its </a:t>
            </a:r>
            <a:r>
              <a:rPr lang="en-US">
                <a:hlinkClick r:id="rId4"/>
              </a:rPr>
              <a:t>website</a:t>
            </a:r>
            <a:r>
              <a:rPr lang="en-US"/>
              <a:t>.</a:t>
            </a:r>
          </a:p>
          <a:p>
            <a:pPr marL="742950" lvl="1" indent="-285750">
              <a:buFont typeface="Arial" panose="020B0604020202020204" pitchFamily="34" charset="0"/>
              <a:buChar char="•"/>
            </a:pPr>
            <a:r>
              <a:rPr lang="en-US"/>
              <a:t>Sends </a:t>
            </a:r>
            <a:r>
              <a:rPr lang="en-US">
                <a:hlinkClick r:id="rId5"/>
              </a:rPr>
              <a:t>weekly notices on bids, events, and opportunities</a:t>
            </a:r>
            <a:r>
              <a:rPr lang="en-US"/>
              <a:t>.</a:t>
            </a:r>
          </a:p>
          <a:p>
            <a:pPr marL="742950" lvl="1" indent="-285750">
              <a:buFont typeface="Arial" panose="020B0604020202020204" pitchFamily="34" charset="0"/>
              <a:buChar char="•"/>
            </a:pPr>
            <a:r>
              <a:rPr lang="en-US"/>
              <a:t>Join the </a:t>
            </a:r>
            <a:r>
              <a:rPr lang="en-US">
                <a:hlinkClick r:id="rId5"/>
              </a:rPr>
              <a:t>vendor list </a:t>
            </a:r>
            <a:r>
              <a:rPr lang="en-US"/>
              <a:t>by completing the Purchasing Communication Form.</a:t>
            </a:r>
            <a:br>
              <a:rPr lang="en-US"/>
            </a:br>
            <a:endParaRPr lang="en-US"/>
          </a:p>
          <a:p>
            <a:pPr>
              <a:buNone/>
            </a:pPr>
            <a:r>
              <a:rPr lang="en-US" b="1"/>
              <a:t>Upcoming Vendor Event</a:t>
            </a:r>
            <a:endParaRPr lang="en-US"/>
          </a:p>
          <a:p>
            <a:pPr marL="285750" indent="-285750">
              <a:buFont typeface="Arial" panose="020B0604020202020204" pitchFamily="34" charset="0"/>
              <a:buChar char="•"/>
            </a:pPr>
            <a:r>
              <a:rPr lang="en-US">
                <a:hlinkClick r:id="rId4"/>
              </a:rPr>
              <a:t>Learn</a:t>
            </a:r>
            <a:r>
              <a:rPr lang="en-US"/>
              <a:t> about Denver agencies, procurement processes, and networking opportunities.</a:t>
            </a:r>
          </a:p>
          <a:p>
            <a:pPr marL="285750" indent="-285750">
              <a:buFont typeface="Arial" panose="020B0604020202020204" pitchFamily="34" charset="0"/>
              <a:buChar char="•"/>
            </a:pPr>
            <a:r>
              <a:rPr lang="en-US"/>
              <a:t>Open to providers of goods, services, and construction.</a:t>
            </a:r>
          </a:p>
          <a:p>
            <a:br>
              <a:rPr lang="en-US" b="1"/>
            </a:br>
            <a:r>
              <a:rPr lang="en-US" sz="1800"/>
              <a:t>To learn more, visit me in the breakout room and scan the QR code.</a:t>
            </a:r>
          </a:p>
        </p:txBody>
      </p:sp>
      <p:pic>
        <p:nvPicPr>
          <p:cNvPr id="10" name="Picture 9" descr="QR Code redirecting to https://denvergov.org/Government/Agencies-Departments-Offices/Agencies-Departments-Offices-Directory/General-Services/Purchasing-Division?OC_EA_EmergencyAnnouncementList_Dismiss=a0478fee-e93d-4942-a615-6de3ec23e95e">
            <a:extLst>
              <a:ext uri="{FF2B5EF4-FFF2-40B4-BE49-F238E27FC236}">
                <a16:creationId xmlns:a16="http://schemas.microsoft.com/office/drawing/2014/main" id="{13042EE4-B52C-74F4-F584-DF3F29629CE3}"/>
              </a:ext>
            </a:extLst>
          </p:cNvPr>
          <p:cNvPicPr>
            <a:picLocks noChangeAspect="1"/>
          </p:cNvPicPr>
          <p:nvPr/>
        </p:nvPicPr>
        <p:blipFill>
          <a:blip r:embed="rId6"/>
          <a:stretch>
            <a:fillRect/>
          </a:stretch>
        </p:blipFill>
        <p:spPr>
          <a:xfrm>
            <a:off x="11051695" y="5705340"/>
            <a:ext cx="981209" cy="981209"/>
          </a:xfrm>
          <a:prstGeom prst="rect">
            <a:avLst/>
          </a:prstGeom>
        </p:spPr>
      </p:pic>
    </p:spTree>
    <p:extLst>
      <p:ext uri="{BB962C8B-B14F-4D97-AF65-F5344CB8AC3E}">
        <p14:creationId xmlns:p14="http://schemas.microsoft.com/office/powerpoint/2010/main" val="208927902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A384A-21C9-4E23-47C4-0395BFE4C261}"/>
            </a:ext>
          </a:extLst>
        </p:cNvPr>
        <p:cNvGrpSpPr/>
        <p:nvPr/>
      </p:nvGrpSpPr>
      <p:grpSpPr>
        <a:xfrm>
          <a:off x="0" y="0"/>
          <a:ext cx="0" cy="0"/>
          <a:chOff x="0" y="0"/>
          <a:chExt cx="0" cy="0"/>
        </a:xfrm>
      </p:grpSpPr>
      <p:sp>
        <p:nvSpPr>
          <p:cNvPr id="12" name="Text Placeholder 11" descr="Multiple Airport Operations Opportunities">
            <a:extLst>
              <a:ext uri="{FF2B5EF4-FFF2-40B4-BE49-F238E27FC236}">
                <a16:creationId xmlns:a16="http://schemas.microsoft.com/office/drawing/2014/main" id="{9B5972C7-FCDC-DE07-E866-EA986D1616D7}"/>
              </a:ext>
            </a:extLst>
          </p:cNvPr>
          <p:cNvSpPr>
            <a:spLocks noGrp="1"/>
          </p:cNvSpPr>
          <p:nvPr>
            <p:ph type="title" idx="4294967295"/>
          </p:nvPr>
        </p:nvSpPr>
        <p:spPr>
          <a:xfrm>
            <a:off x="2359839" y="1040045"/>
            <a:ext cx="8694737" cy="1189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latin typeface="Calibri Light"/>
                <a:ea typeface="Calibri Light"/>
                <a:cs typeface="Calibri Light"/>
              </a:rPr>
              <a:t>Workforce Development</a:t>
            </a:r>
            <a:br>
              <a:rPr lang="en-US" sz="3600" b="0" i="0" u="none" strike="noStrike" kern="1200" cap="none" spc="0" normalizeH="0" baseline="0" noProof="0">
                <a:ln>
                  <a:noFill/>
                </a:ln>
                <a:effectLst/>
                <a:uLnTx/>
                <a:uFillTx/>
                <a:latin typeface="Calibri Light"/>
                <a:ea typeface="Calibri Light"/>
                <a:cs typeface="Calibri Light"/>
              </a:rPr>
            </a:br>
            <a:endParaRPr lang="en-US" sz="3600" b="0" i="0" u="none" strike="noStrike" kern="1200" cap="none" spc="0" normalizeH="0" baseline="0" noProof="0">
              <a:ln>
                <a:noFill/>
              </a:ln>
              <a:solidFill>
                <a:schemeClr val="bg1"/>
              </a:solidFill>
              <a:effectLst/>
              <a:uLnTx/>
              <a:uFillTx/>
              <a:latin typeface="Calibri Light"/>
              <a:ea typeface="Calibri"/>
              <a:cs typeface="Calibri"/>
            </a:endParaRPr>
          </a:p>
        </p:txBody>
      </p:sp>
    </p:spTree>
    <p:extLst>
      <p:ext uri="{BB962C8B-B14F-4D97-AF65-F5344CB8AC3E}">
        <p14:creationId xmlns:p14="http://schemas.microsoft.com/office/powerpoint/2010/main" val="218297658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CEF55DB1-894A-9690-9BD8-29C7A8B52F0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B242207-285B-1F35-849E-6541FB6181BB}"/>
              </a:ext>
              <a:ext uri="{C183D7F6-B498-43B3-948B-1728B52AA6E4}">
                <adec:decorative xmlns:adec="http://schemas.microsoft.com/office/drawing/2017/decorative" val="1"/>
              </a:ext>
            </a:extLst>
          </p:cNvPr>
          <p:cNvSpPr txBox="1">
            <a:spLocks noGrp="1"/>
          </p:cNvSpPr>
          <p:nvPr>
            <p:ph type="title" idx="4294967295"/>
          </p:nvPr>
        </p:nvSpPr>
        <p:spPr>
          <a:xfrm>
            <a:off x="106121" y="-38470"/>
            <a:ext cx="8882323" cy="140038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914377">
              <a:lnSpc>
                <a:spcPct val="100000"/>
              </a:lnSpc>
              <a:spcBef>
                <a:spcPts val="0"/>
              </a:spcBef>
              <a:defRPr/>
            </a:pPr>
            <a:r>
              <a:rPr lang="en-US" sz="2900">
                <a:solidFill>
                  <a:prstClr val="white"/>
                </a:solidFill>
                <a:latin typeface="Calibri"/>
                <a:ea typeface="+mj-lt"/>
                <a:cs typeface="+mj-lt"/>
              </a:rPr>
              <a:t>Denver Construction Careers Program</a:t>
            </a:r>
            <a:r>
              <a:rPr lang="en-US" sz="2900">
                <a:solidFill>
                  <a:prstClr val="white"/>
                </a:solidFill>
                <a:latin typeface="Calibri Light"/>
                <a:ea typeface="Calibri Light"/>
                <a:cs typeface="Calibri Light"/>
              </a:rPr>
              <a:t> </a:t>
            </a:r>
            <a:r>
              <a:rPr lang="en-US" sz="2900">
                <a:solidFill>
                  <a:prstClr val="white"/>
                </a:solidFill>
                <a:latin typeface="Calibri"/>
                <a:ea typeface="Calibri"/>
                <a:cs typeface="Calibri"/>
              </a:rPr>
              <a:t>(DCCP)</a:t>
            </a:r>
            <a:br>
              <a:rPr lang="en-US" sz="3200">
                <a:solidFill>
                  <a:prstClr val="white"/>
                </a:solidFill>
                <a:latin typeface="Calibri"/>
                <a:ea typeface="Calibri"/>
                <a:cs typeface="Calibri"/>
              </a:rPr>
            </a:br>
            <a:r>
              <a:rPr kumimoji="0" lang="en-US" sz="2900" b="0" i="0" u="none" strike="noStrike" kern="1200" cap="none" spc="0" normalizeH="0" baseline="0" noProof="0">
                <a:ln>
                  <a:noFill/>
                </a:ln>
                <a:solidFill>
                  <a:prstClr val="white"/>
                </a:solidFill>
                <a:effectLst/>
                <a:uLnTx/>
                <a:uFillTx/>
                <a:latin typeface="Calibri"/>
                <a:ea typeface="Calibri"/>
                <a:cs typeface="Calibri"/>
              </a:rPr>
              <a:t>Overview</a:t>
            </a:r>
            <a:br>
              <a:rPr lang="en-US" sz="2900">
                <a:latin typeface="Calibri"/>
                <a:ea typeface="+mn-ea"/>
                <a:cs typeface="+mn-cs"/>
              </a:rPr>
            </a:br>
            <a:endParaRPr lang="en-US" sz="2400" b="0" i="0" u="none" strike="noStrike" kern="1200" cap="none" spc="0" normalizeH="0" baseline="0" noProof="0">
              <a:ln>
                <a:noFill/>
              </a:ln>
              <a:solidFill>
                <a:prstClr val="white"/>
              </a:solidFill>
              <a:effectLst/>
              <a:uLnTx/>
              <a:uFillTx/>
              <a:latin typeface="Calibri"/>
              <a:ea typeface="Calibri"/>
              <a:cs typeface="Calibri"/>
            </a:endParaRPr>
          </a:p>
        </p:txBody>
      </p:sp>
      <p:sp>
        <p:nvSpPr>
          <p:cNvPr id="14" name="TextBox 13">
            <a:extLst>
              <a:ext uri="{FF2B5EF4-FFF2-40B4-BE49-F238E27FC236}">
                <a16:creationId xmlns:a16="http://schemas.microsoft.com/office/drawing/2014/main" id="{836ECBCA-3320-BE43-05A9-F8F4DEF56431}"/>
              </a:ext>
              <a:ext uri="{C183D7F6-B498-43B3-948B-1728B52AA6E4}">
                <adec:decorative xmlns:adec="http://schemas.microsoft.com/office/drawing/2017/decorative" val="1"/>
              </a:ext>
            </a:extLst>
          </p:cNvPr>
          <p:cNvSpPr txBox="1"/>
          <p:nvPr/>
        </p:nvSpPr>
        <p:spPr>
          <a:xfrm>
            <a:off x="395825" y="1260787"/>
            <a:ext cx="8609154" cy="544764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Workforce Ordinance Applies To:</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a:ln>
                  <a:noFill/>
                </a:ln>
                <a:solidFill>
                  <a:prstClr val="black"/>
                </a:solidFill>
                <a:effectLst/>
                <a:uLnTx/>
                <a:uFillTx/>
                <a:latin typeface="Calibri" panose="020F0502020204030204"/>
                <a:ea typeface="+mn-ea"/>
                <a:cs typeface="+mn-cs"/>
              </a:rPr>
              <a:t>Contracts/work orders </a:t>
            </a: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 $10M</a:t>
            </a:r>
            <a:r>
              <a:rPr kumimoji="0" lang="en-US" sz="1500" b="0" i="0" u="none" strike="noStrike" kern="1200" cap="none" spc="0" normalizeH="0" baseline="0" noProof="0">
                <a:ln>
                  <a:noFill/>
                </a:ln>
                <a:solidFill>
                  <a:prstClr val="black"/>
                </a:solidFill>
                <a:effectLst/>
                <a:uLnTx/>
                <a:uFillTx/>
                <a:latin typeface="Calibri" panose="020F0502020204030204"/>
                <a:ea typeface="+mn-ea"/>
                <a:cs typeface="+mn-cs"/>
              </a:rPr>
              <a:t>, advertised/issued after </a:t>
            </a: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May 30, 2025</a:t>
            </a:r>
            <a:endParaRPr kumimoji="0" lang="en-US" sz="1500" b="1"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a:ln>
                  <a:noFill/>
                </a:ln>
                <a:solidFill>
                  <a:prstClr val="black"/>
                </a:solidFill>
                <a:effectLst/>
                <a:uLnTx/>
                <a:uFillTx/>
                <a:latin typeface="Calibri" panose="020F0502020204030204"/>
                <a:ea typeface="+mn-ea"/>
                <a:cs typeface="+mn-cs"/>
              </a:rPr>
              <a:t>On-call/task orders evaluated </a:t>
            </a: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individually</a:t>
            </a:r>
            <a:endParaRPr kumimoji="0" lang="en-US" sz="1500" b="1"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a:ln>
                  <a:noFill/>
                </a:ln>
                <a:solidFill>
                  <a:prstClr val="black"/>
                </a:solidFill>
                <a:effectLst/>
                <a:uLnTx/>
                <a:uFillTx/>
                <a:latin typeface="Calibri" panose="020F0502020204030204"/>
                <a:ea typeface="+mn-ea"/>
                <a:cs typeface="+mn-cs"/>
              </a:rPr>
              <a:t>Contractors must sign a </a:t>
            </a: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Workforce Commitment Form</a:t>
            </a:r>
            <a:endParaRPr kumimoji="0" lang="en-US" sz="1500" b="1"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Key Percentage Requirements</a:t>
            </a:r>
            <a:endParaRPr kumimoji="0" lang="en-US" sz="1500" b="1"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Priority Areas: </a:t>
            </a:r>
            <a:r>
              <a:rPr kumimoji="0" lang="en-US" sz="1500" b="0" i="0" u="none" strike="noStrike" kern="1200" cap="none" spc="0" normalizeH="0" baseline="0" noProof="0">
                <a:ln>
                  <a:noFill/>
                </a:ln>
                <a:solidFill>
                  <a:prstClr val="black"/>
                </a:solidFill>
                <a:effectLst/>
                <a:uLnTx/>
                <a:uFillTx/>
                <a:latin typeface="Calibri" panose="020F0502020204030204"/>
                <a:ea typeface="+mn-ea"/>
                <a:cs typeface="+mn-cs"/>
              </a:rPr>
              <a:t>Track/report hours worked by residents from DCCP-identified priority neighborhoods</a:t>
            </a:r>
            <a:endParaRPr kumimoji="0" lang="en-US" sz="15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Pre-Apprenticeship Grads: </a:t>
            </a:r>
            <a:r>
              <a:rPr kumimoji="0" lang="en-US" sz="1500" b="0" i="0" u="none" strike="noStrike" kern="1200" cap="none" spc="0" normalizeH="0" baseline="0" noProof="0">
                <a:ln>
                  <a:noFill/>
                </a:ln>
                <a:solidFill>
                  <a:prstClr val="black"/>
                </a:solidFill>
                <a:effectLst/>
                <a:uLnTx/>
                <a:uFillTx/>
                <a:latin typeface="Calibri" panose="020F0502020204030204"/>
                <a:ea typeface="+mn-ea"/>
                <a:cs typeface="+mn-cs"/>
              </a:rPr>
              <a:t>Track/report hours worked by grads from DCCP-approved programs</a:t>
            </a:r>
            <a:endParaRPr kumimoji="0" lang="en-US" sz="15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Veterans: </a:t>
            </a:r>
            <a:r>
              <a:rPr kumimoji="0" lang="en-US" sz="1500" b="0" i="0" u="none" strike="noStrike" kern="1200" cap="none" spc="0" normalizeH="0" baseline="0" noProof="0">
                <a:ln>
                  <a:noFill/>
                </a:ln>
                <a:solidFill>
                  <a:prstClr val="black"/>
                </a:solidFill>
                <a:effectLst/>
                <a:uLnTx/>
                <a:uFillTx/>
                <a:latin typeface="Calibri" panose="020F0502020204030204"/>
                <a:ea typeface="+mn-ea"/>
                <a:cs typeface="+mn-cs"/>
              </a:rPr>
              <a:t>Track/report hours worked by veterans</a:t>
            </a:r>
            <a:endParaRPr kumimoji="0" lang="en-US" sz="15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Calibri"/>
                <a:cs typeface="Calibri"/>
              </a:rPr>
              <a:t>Registered Apprenticeships:  </a:t>
            </a:r>
            <a:r>
              <a:rPr kumimoji="0" lang="en-US" sz="1500" b="0" i="0" u="none" strike="noStrike" kern="1200" cap="none" spc="0" normalizeH="0" baseline="0" noProof="0">
                <a:ln>
                  <a:noFill/>
                </a:ln>
                <a:solidFill>
                  <a:prstClr val="black"/>
                </a:solidFill>
                <a:effectLst/>
                <a:uLnTx/>
                <a:uFillTx/>
                <a:latin typeface="Calibri" panose="020F0502020204030204"/>
                <a:ea typeface="Calibri"/>
                <a:cs typeface="Calibri"/>
              </a:rPr>
              <a:t>Track/report hours by workers in registered apprenticeship programs</a:t>
            </a:r>
            <a:br>
              <a:rPr kumimoji="0" lang="en-US" sz="1500" b="0" i="0" u="none" strike="noStrike" kern="1200" cap="none" spc="0" normalizeH="0" baseline="0" noProof="0">
                <a:ln>
                  <a:noFill/>
                </a:ln>
                <a:solidFill>
                  <a:prstClr val="black"/>
                </a:solidFill>
                <a:effectLst/>
                <a:uLnTx/>
                <a:uFillTx/>
                <a:latin typeface="Calibri" panose="020F0502020204030204"/>
                <a:ea typeface="Calibri"/>
                <a:cs typeface="Calibri"/>
              </a:rPr>
            </a:br>
            <a:r>
              <a:rPr kumimoji="0" lang="en-US" sz="1500" b="0" i="0" u="none" strike="noStrike" kern="1200" cap="none" spc="0" normalizeH="0" baseline="0" noProof="0">
                <a:ln>
                  <a:noFill/>
                </a:ln>
                <a:solidFill>
                  <a:prstClr val="black"/>
                </a:solidFill>
                <a:effectLst/>
                <a:uLnTx/>
                <a:uFillTx/>
                <a:latin typeface="Calibri" panose="020F0502020204030204"/>
                <a:ea typeface="Calibri"/>
                <a:cs typeface="Calibri"/>
              </a:rPr>
              <a:t>including first-year and target category registered apprent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Calibri"/>
                <a:cs typeface="Calibri"/>
              </a:rPr>
              <a:t>Reporting &amp; Enforcement</a:t>
            </a:r>
            <a:endParaRPr kumimoji="0" lang="en-US" sz="15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Wingdings,Sans-Serif"/>
              <a:buChar char="§"/>
              <a:tabLst/>
              <a:defRPr/>
            </a:pPr>
            <a:r>
              <a:rPr kumimoji="0" lang="en-US" sz="1500" b="1" i="0" u="none" strike="noStrike" kern="1200" cap="none" spc="0" normalizeH="0" baseline="0" noProof="0" err="1">
                <a:ln>
                  <a:noFill/>
                </a:ln>
                <a:solidFill>
                  <a:prstClr val="black"/>
                </a:solidFill>
                <a:effectLst/>
                <a:uLnTx/>
                <a:uFillTx/>
                <a:latin typeface="Calibri" panose="020F0502020204030204"/>
                <a:ea typeface="Calibri"/>
                <a:cs typeface="Calibri"/>
              </a:rPr>
              <a:t>LCPtracker</a:t>
            </a:r>
            <a:r>
              <a:rPr kumimoji="0" lang="en-US" sz="1500" b="1" i="0" u="none" strike="noStrike" kern="1200" cap="none" spc="0" normalizeH="0" baseline="0" noProof="0">
                <a:ln>
                  <a:noFill/>
                </a:ln>
                <a:solidFill>
                  <a:prstClr val="black"/>
                </a:solidFill>
                <a:effectLst/>
                <a:uLnTx/>
                <a:uFillTx/>
                <a:latin typeface="Calibri" panose="020F0502020204030204"/>
                <a:ea typeface="Calibri"/>
                <a:cs typeface="Calibri"/>
              </a:rPr>
              <a:t> </a:t>
            </a:r>
            <a:r>
              <a:rPr kumimoji="0" lang="en-US" sz="1500" b="0" i="0" u="none" strike="noStrike" kern="1200" cap="none" spc="0" normalizeH="0" baseline="0" noProof="0">
                <a:ln>
                  <a:noFill/>
                </a:ln>
                <a:solidFill>
                  <a:prstClr val="black"/>
                </a:solidFill>
                <a:effectLst/>
                <a:uLnTx/>
                <a:uFillTx/>
                <a:latin typeface="Calibri" panose="020F0502020204030204"/>
                <a:ea typeface="Calibri"/>
                <a:cs typeface="Calibri"/>
              </a:rPr>
              <a:t>is used to track and submit data</a:t>
            </a:r>
          </a:p>
          <a:p>
            <a:pPr marL="285750" marR="0" lvl="0" indent="-285750" algn="l" defTabSz="914400" rtl="0" eaLnBrk="1" fontAlgn="auto" latinLnBrk="0" hangingPunct="1">
              <a:lnSpc>
                <a:spcPct val="100000"/>
              </a:lnSpc>
              <a:spcBef>
                <a:spcPts val="0"/>
              </a:spcBef>
              <a:spcAft>
                <a:spcPts val="0"/>
              </a:spcAft>
              <a:buClrTx/>
              <a:buSzTx/>
              <a:buFont typeface="Wingdings,Sans-Serif"/>
              <a:buChar char="§"/>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Calibri"/>
                <a:cs typeface="Calibri"/>
              </a:rPr>
              <a:t>DCCP monitors compliance; </a:t>
            </a:r>
            <a:r>
              <a:rPr kumimoji="0" lang="en-US" sz="1500" b="0" i="0" u="none" strike="noStrike" kern="1200" cap="none" spc="0" normalizeH="0" baseline="0" noProof="0">
                <a:ln>
                  <a:noFill/>
                </a:ln>
                <a:solidFill>
                  <a:prstClr val="black"/>
                </a:solidFill>
                <a:effectLst/>
                <a:uLnTx/>
                <a:uFillTx/>
                <a:latin typeface="Calibri" panose="020F0502020204030204"/>
                <a:ea typeface="Calibri"/>
                <a:cs typeface="Calibri"/>
              </a:rPr>
              <a:t>non-compliance may lead to penal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Get Involved</a:t>
            </a:r>
            <a:endParaRPr kumimoji="0" lang="en-US" sz="1500" b="1"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a:ln>
                  <a:noFill/>
                </a:ln>
                <a:solidFill>
                  <a:prstClr val="black"/>
                </a:solidFill>
                <a:effectLst/>
                <a:uLnTx/>
                <a:uFillTx/>
                <a:latin typeface="Calibri" panose="020F0502020204030204"/>
                <a:ea typeface="+mn-ea"/>
                <a:cs typeface="+mn-cs"/>
              </a:rPr>
              <a:t>Jobseekers, employers, and community orgs — connect with </a:t>
            </a: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DEDO &amp; DCCP </a:t>
            </a:r>
            <a:r>
              <a:rPr kumimoji="0" lang="en-US" sz="1500" b="0" i="0" u="none" strike="noStrike" kern="1200" cap="none" spc="0" normalizeH="0" baseline="0" noProof="0">
                <a:ln>
                  <a:noFill/>
                </a:ln>
                <a:solidFill>
                  <a:prstClr val="black"/>
                </a:solidFill>
                <a:effectLst/>
                <a:uLnTx/>
                <a:uFillTx/>
                <a:latin typeface="Calibri" panose="020F0502020204030204"/>
                <a:ea typeface="+mn-ea"/>
                <a:cs typeface="+mn-cs"/>
              </a:rPr>
              <a:t>to grow Denver’s construction workforce.</a:t>
            </a:r>
            <a:endParaRPr kumimoji="0" lang="en-US" sz="15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Calibri"/>
                <a:cs typeface="Calibri"/>
              </a:rPr>
              <a:t>Why It Matters</a:t>
            </a:r>
            <a:endParaRPr kumimoji="0" lang="en-US" sz="15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Wingdings,Sans-Serif" panose="020B0604020202020204" pitchFamily="34" charset="0"/>
              <a:buChar char="§"/>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Calibri"/>
                <a:cs typeface="Calibri"/>
              </a:rPr>
              <a:t>Meets</a:t>
            </a:r>
            <a:r>
              <a:rPr kumimoji="0" lang="en-US" sz="1500" b="0" i="0" u="none" strike="noStrike" kern="1200" cap="none" spc="0" normalizeH="0" baseline="0" noProof="0">
                <a:ln>
                  <a:noFill/>
                </a:ln>
                <a:solidFill>
                  <a:prstClr val="black"/>
                </a:solidFill>
                <a:effectLst/>
                <a:uLnTx/>
                <a:uFillTx/>
                <a:latin typeface="Calibri" panose="020F0502020204030204"/>
                <a:ea typeface="Calibri"/>
                <a:cs typeface="Calibri"/>
              </a:rPr>
              <a:t> high demand for skilled construction workers</a:t>
            </a:r>
          </a:p>
          <a:p>
            <a:pPr marL="285750" marR="0" lvl="0" indent="-285750" algn="l" defTabSz="914400" rtl="0" eaLnBrk="1" fontAlgn="auto" latinLnBrk="0" hangingPunct="1">
              <a:lnSpc>
                <a:spcPct val="100000"/>
              </a:lnSpc>
              <a:spcBef>
                <a:spcPts val="0"/>
              </a:spcBef>
              <a:spcAft>
                <a:spcPts val="0"/>
              </a:spcAft>
              <a:buClrTx/>
              <a:buSzTx/>
              <a:buFont typeface="Wingdings,Sans-Serif" panose="020B0604020202020204" pitchFamily="34" charset="0"/>
              <a:buChar char="§"/>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Calibri"/>
                <a:cs typeface="Calibri"/>
              </a:rPr>
              <a:t>Builds</a:t>
            </a:r>
            <a:r>
              <a:rPr kumimoji="0" lang="en-US" sz="1500" b="0" i="0" u="none" strike="noStrike" kern="1200" cap="none" spc="0" normalizeH="0" baseline="0" noProof="0">
                <a:ln>
                  <a:noFill/>
                </a:ln>
                <a:solidFill>
                  <a:prstClr val="black"/>
                </a:solidFill>
                <a:effectLst/>
                <a:uLnTx/>
                <a:uFillTx/>
                <a:latin typeface="Calibri" panose="020F0502020204030204"/>
                <a:ea typeface="Calibri"/>
                <a:cs typeface="Calibri"/>
              </a:rPr>
              <a:t> career pathways for Denver residents</a:t>
            </a:r>
          </a:p>
          <a:p>
            <a:pPr marL="285750" marR="0" lvl="0" indent="-285750" algn="l" defTabSz="914400" rtl="0" eaLnBrk="1" fontAlgn="auto" latinLnBrk="0" hangingPunct="1">
              <a:lnSpc>
                <a:spcPct val="100000"/>
              </a:lnSpc>
              <a:spcBef>
                <a:spcPts val="0"/>
              </a:spcBef>
              <a:spcAft>
                <a:spcPts val="0"/>
              </a:spcAft>
              <a:buClrTx/>
              <a:buSzTx/>
              <a:buFont typeface="Wingdings,Sans-Serif" panose="020B0604020202020204" pitchFamily="34" charset="0"/>
              <a:buChar char="§"/>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Calibri"/>
                <a:cs typeface="Calibri"/>
              </a:rPr>
              <a:t>Aligns </a:t>
            </a:r>
            <a:r>
              <a:rPr kumimoji="0" lang="en-US" sz="1500" b="0" i="0" u="none" strike="noStrike" kern="1200" cap="none" spc="0" normalizeH="0" baseline="0" noProof="0">
                <a:ln>
                  <a:noFill/>
                </a:ln>
                <a:solidFill>
                  <a:prstClr val="black"/>
                </a:solidFill>
                <a:effectLst/>
                <a:uLnTx/>
                <a:uFillTx/>
                <a:latin typeface="Calibri" panose="020F0502020204030204"/>
                <a:ea typeface="Calibri"/>
                <a:cs typeface="Calibri"/>
              </a:rPr>
              <a:t>workforce with city infrastructure investments</a:t>
            </a:r>
          </a:p>
        </p:txBody>
      </p:sp>
      <p:pic>
        <p:nvPicPr>
          <p:cNvPr id="2" name="Picture 1">
            <a:extLst>
              <a:ext uri="{FF2B5EF4-FFF2-40B4-BE49-F238E27FC236}">
                <a16:creationId xmlns:a16="http://schemas.microsoft.com/office/drawing/2014/main" id="{DD0B5CF1-7A1A-2108-8702-AF4D1A45859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469047" y="1815235"/>
            <a:ext cx="2253803" cy="2253803"/>
          </a:xfrm>
          <a:prstGeom prst="rect">
            <a:avLst/>
          </a:prstGeom>
        </p:spPr>
      </p:pic>
      <p:sp>
        <p:nvSpPr>
          <p:cNvPr id="5" name="TextBox 4">
            <a:extLst>
              <a:ext uri="{FF2B5EF4-FFF2-40B4-BE49-F238E27FC236}">
                <a16:creationId xmlns:a16="http://schemas.microsoft.com/office/drawing/2014/main" id="{D0A7838A-146E-0A6E-983C-ACA402C89E65}"/>
              </a:ext>
            </a:extLst>
          </p:cNvPr>
          <p:cNvSpPr txBox="1"/>
          <p:nvPr/>
        </p:nvSpPr>
        <p:spPr>
          <a:xfrm>
            <a:off x="9372403" y="4186098"/>
            <a:ext cx="2547468"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Calibri"/>
                <a:cs typeface="Calibri"/>
              </a:rPr>
              <a:t>To learn more, visit me in the breakout room or scan the above QR code.</a:t>
            </a:r>
          </a:p>
        </p:txBody>
      </p:sp>
      <p:pic>
        <p:nvPicPr>
          <p:cNvPr id="3" name="Picture 2" descr="Slide for DCCP overview for the workforce program.">
            <a:extLst>
              <a:ext uri="{FF2B5EF4-FFF2-40B4-BE49-F238E27FC236}">
                <a16:creationId xmlns:a16="http://schemas.microsoft.com/office/drawing/2014/main" id="{DC1BE2D8-71C6-4749-A169-5C6924394CE9}"/>
              </a:ext>
            </a:extLst>
          </p:cNvPr>
          <p:cNvPicPr>
            <a:picLocks noChangeAspect="1"/>
          </p:cNvPicPr>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269954516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descr="Event Follow Up&#10;&#10;This information will be shared with all attendees in a follow-up email from Eventbrite.com, which will also include the registration list and presentations.&#10;Additionally, it will be posted on our website at www.flydenver.com/business-and-community/commerce-hub/outreach-and-engagement/#pastevents within the next 3 business days. &#10;&#10;">
            <a:extLst>
              <a:ext uri="{FF2B5EF4-FFF2-40B4-BE49-F238E27FC236}">
                <a16:creationId xmlns:a16="http://schemas.microsoft.com/office/drawing/2014/main" id="{945DF1C9-A0C7-0C8C-F344-10A0D20C6157}"/>
              </a:ext>
              <a:ext uri="{C183D7F6-B498-43B3-948B-1728B52AA6E4}">
                <adec:decorative xmlns:adec="http://schemas.microsoft.com/office/drawing/2017/decorative" val="0"/>
              </a:ext>
            </a:extLst>
          </p:cNvPr>
          <p:cNvSpPr>
            <a:spLocks noGrp="1"/>
          </p:cNvSpPr>
          <p:nvPr>
            <p:ph type="title" idx="4294967295"/>
          </p:nvPr>
        </p:nvSpPr>
        <p:spPr>
          <a:xfrm>
            <a:off x="770280" y="496503"/>
            <a:ext cx="8694738"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i="0" u="none" strike="noStrike" kern="1200" cap="none" spc="0" normalizeH="0" baseline="0" noProof="0">
                <a:ln>
                  <a:noFill/>
                </a:ln>
                <a:solidFill>
                  <a:srgbClr val="440099"/>
                </a:solidFill>
                <a:effectLst/>
                <a:uLnTx/>
                <a:uFillTx/>
                <a:latin typeface="+mn-lt"/>
                <a:ea typeface="+mn-ea"/>
                <a:cs typeface="+mn-cs"/>
              </a:rPr>
              <a:t>Event Follow Up </a:t>
            </a:r>
          </a:p>
        </p:txBody>
      </p:sp>
      <p:sp>
        <p:nvSpPr>
          <p:cNvPr id="7" name="Text Placeholder 6">
            <a:extLst>
              <a:ext uri="{FF2B5EF4-FFF2-40B4-BE49-F238E27FC236}">
                <a16:creationId xmlns:a16="http://schemas.microsoft.com/office/drawing/2014/main" id="{461BFA58-C8F0-4505-02F8-6539579307D8}"/>
              </a:ext>
              <a:ext uri="{C183D7F6-B498-43B3-948B-1728B52AA6E4}">
                <adec:decorative xmlns:adec="http://schemas.microsoft.com/office/drawing/2017/decorative" val="1"/>
              </a:ext>
            </a:extLst>
          </p:cNvPr>
          <p:cNvSpPr>
            <a:spLocks noGrp="1"/>
          </p:cNvSpPr>
          <p:nvPr>
            <p:ph type="body" sz="quarter" idx="4294967295"/>
          </p:nvPr>
        </p:nvSpPr>
        <p:spPr>
          <a:xfrm>
            <a:off x="770280" y="1687953"/>
            <a:ext cx="10797431" cy="577850"/>
          </a:xfrm>
          <a:prstGeom prst="rect">
            <a:avLst/>
          </a:prstGeom>
        </p:spPr>
        <p:txBody>
          <a:bodyPr/>
          <a:lstStyle/>
          <a:p>
            <a:pPr marL="0" indent="0">
              <a:buNone/>
            </a:pPr>
            <a:r>
              <a:rPr lang="en-US" sz="2200"/>
              <a:t>This information will be shared with all attendees in a follow-up email from </a:t>
            </a:r>
            <a:r>
              <a:rPr lang="en-US" sz="2200" b="1"/>
              <a:t>Eventbrite.com</a:t>
            </a:r>
            <a:r>
              <a:rPr lang="en-US" sz="2200"/>
              <a:t>, which will also include the registration list and presentations.</a:t>
            </a:r>
          </a:p>
          <a:p>
            <a:pPr marL="0" indent="0">
              <a:buNone/>
            </a:pPr>
            <a:r>
              <a:rPr lang="en-US" sz="2200"/>
              <a:t>Additionally, it will be posted on our website at </a:t>
            </a:r>
            <a:r>
              <a:rPr lang="en-US" sz="2200">
                <a:hlinkClick r:id="rId3"/>
              </a:rPr>
              <a:t>www.flydenver.com/business-and-community/outreach-and-engagement/#pastevents</a:t>
            </a:r>
            <a:r>
              <a:rPr lang="en-US" sz="2200"/>
              <a:t> within the next 3 business days. </a:t>
            </a:r>
          </a:p>
          <a:p>
            <a:endParaRPr lang="en-US"/>
          </a:p>
          <a:p>
            <a:endParaRPr lang="en-US"/>
          </a:p>
          <a:p>
            <a:pPr marL="0" indent="0" algn="ctr">
              <a:buNone/>
            </a:pPr>
            <a:r>
              <a:rPr lang="en-US" sz="2400">
                <a:solidFill>
                  <a:srgbClr val="E35B2A"/>
                </a:solidFill>
              </a:rPr>
              <a:t>Post-Event Survey</a:t>
            </a:r>
          </a:p>
        </p:txBody>
      </p:sp>
      <p:pic>
        <p:nvPicPr>
          <p:cNvPr id="1026" name="Picture 2" descr="A qr code with a few black squares">
            <a:extLst>
              <a:ext uri="{FF2B5EF4-FFF2-40B4-BE49-F238E27FC236}">
                <a16:creationId xmlns:a16="http://schemas.microsoft.com/office/drawing/2014/main" id="{201CE5B0-7231-2AE3-BD08-29E2509FF9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01708" y="4972913"/>
            <a:ext cx="1388584" cy="13885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0183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descr="Taking Flight at DEN  - Monthly event showcasing multiple procurement opportunities, set for the 2nd Thursday of each month at 1 p.m.&#10;&#10;Taking Flight at DEN is our monthly outreach event that features multiple procurement opportunities. This event:&#10;is a Proactive approach for DEN internal teams&#10;Features multiple projects&#10;Creates a space for sharing projects with long lead times and multiple status updates&#10;Encourages networking and partnership building&#10;&#10;Please go to https://www.eventbrite.com/o/doing-business-at-den-8527643555 for the event calendar. ">
            <a:extLst>
              <a:ext uri="{FF2B5EF4-FFF2-40B4-BE49-F238E27FC236}">
                <a16:creationId xmlns:a16="http://schemas.microsoft.com/office/drawing/2014/main" id="{B455FA32-8B70-D63B-1F0E-56E58B93AFC1}"/>
              </a:ext>
              <a:ext uri="{C183D7F6-B498-43B3-948B-1728B52AA6E4}">
                <adec:decorative xmlns:adec="http://schemas.microsoft.com/office/drawing/2017/decorative" val="0"/>
              </a:ext>
            </a:extLst>
          </p:cNvPr>
          <p:cNvSpPr>
            <a:spLocks noGrp="1"/>
          </p:cNvSpPr>
          <p:nvPr>
            <p:ph type="title" idx="4294967295"/>
          </p:nvPr>
        </p:nvSpPr>
        <p:spPr>
          <a:xfrm>
            <a:off x="769938" y="499829"/>
            <a:ext cx="869440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440099"/>
                </a:solidFill>
                <a:effectLst/>
                <a:uLnTx/>
                <a:uFillTx/>
                <a:latin typeface="+mn-lt"/>
                <a:ea typeface="+mn-ea"/>
                <a:cs typeface="+mn-cs"/>
              </a:rPr>
              <a:t>Taking Flight at DEN </a:t>
            </a:r>
          </a:p>
        </p:txBody>
      </p:sp>
      <p:sp>
        <p:nvSpPr>
          <p:cNvPr id="16" name="Text Placeholder 15">
            <a:extLst>
              <a:ext uri="{FF2B5EF4-FFF2-40B4-BE49-F238E27FC236}">
                <a16:creationId xmlns:a16="http://schemas.microsoft.com/office/drawing/2014/main" id="{CACCCF1E-087D-6539-AC02-491F1A38527B}"/>
              </a:ext>
              <a:ext uri="{C183D7F6-B498-43B3-948B-1728B52AA6E4}">
                <adec:decorative xmlns:adec="http://schemas.microsoft.com/office/drawing/2017/decorative" val="1"/>
              </a:ext>
            </a:extLst>
          </p:cNvPr>
          <p:cNvSpPr>
            <a:spLocks noGrp="1"/>
          </p:cNvSpPr>
          <p:nvPr>
            <p:ph type="body" sz="quarter" idx="12"/>
          </p:nvPr>
        </p:nvSpPr>
        <p:spPr/>
        <p:txBody>
          <a:bodyPr/>
          <a:lstStyle/>
          <a:p>
            <a:endParaRPr lang="en-US"/>
          </a:p>
        </p:txBody>
      </p:sp>
      <p:sp>
        <p:nvSpPr>
          <p:cNvPr id="15" name="Text Placeholder 14">
            <a:extLst>
              <a:ext uri="{FF2B5EF4-FFF2-40B4-BE49-F238E27FC236}">
                <a16:creationId xmlns:a16="http://schemas.microsoft.com/office/drawing/2014/main" id="{EADB3E80-1530-FEAD-BC51-A70A937D47F8}"/>
              </a:ext>
              <a:ext uri="{C183D7F6-B498-43B3-948B-1728B52AA6E4}">
                <adec:decorative xmlns:adec="http://schemas.microsoft.com/office/drawing/2017/decorative" val="1"/>
              </a:ext>
            </a:extLst>
          </p:cNvPr>
          <p:cNvSpPr>
            <a:spLocks noGrp="1"/>
          </p:cNvSpPr>
          <p:nvPr>
            <p:ph type="body" sz="quarter" idx="13"/>
          </p:nvPr>
        </p:nvSpPr>
        <p:spPr>
          <a:xfrm>
            <a:off x="769938" y="1555750"/>
            <a:ext cx="7877175" cy="578318"/>
          </a:xfrm>
        </p:spPr>
        <p:txBody>
          <a:bodyPr/>
          <a:lstStyle/>
          <a:p>
            <a:r>
              <a:rPr lang="en-US" sz="1800" b="1"/>
              <a:t>Connect directly with DEN teams and learn about upcoming procurement opportunities. Held the 2nd Thursday of every month at 1 p.m.</a:t>
            </a:r>
          </a:p>
        </p:txBody>
      </p:sp>
      <p:sp>
        <p:nvSpPr>
          <p:cNvPr id="9" name="Text Placeholder 8">
            <a:extLst>
              <a:ext uri="{FF2B5EF4-FFF2-40B4-BE49-F238E27FC236}">
                <a16:creationId xmlns:a16="http://schemas.microsoft.com/office/drawing/2014/main" id="{33E76785-83AF-EDB4-F909-25B4EBEBB89B}"/>
              </a:ext>
              <a:ext uri="{C183D7F6-B498-43B3-948B-1728B52AA6E4}">
                <adec:decorative xmlns:adec="http://schemas.microsoft.com/office/drawing/2017/decorative" val="1"/>
              </a:ext>
            </a:extLst>
          </p:cNvPr>
          <p:cNvSpPr>
            <a:spLocks noGrp="1"/>
          </p:cNvSpPr>
          <p:nvPr>
            <p:ph type="body" sz="quarter" idx="14"/>
          </p:nvPr>
        </p:nvSpPr>
        <p:spPr>
          <a:xfrm>
            <a:off x="769938" y="2485925"/>
            <a:ext cx="1982787" cy="3046075"/>
          </a:xfrm>
        </p:spPr>
        <p:txBody>
          <a:bodyPr lIns="91440" tIns="45720" rIns="91440" bIns="45720" anchor="t"/>
          <a:lstStyle/>
          <a:p>
            <a:pPr>
              <a:spcBef>
                <a:spcPts val="0"/>
              </a:spcBef>
              <a:spcAft>
                <a:spcPts val="600"/>
              </a:spcAft>
              <a:buClr>
                <a:srgbClr val="DC582A"/>
              </a:buClr>
              <a:tabLst>
                <a:tab pos="457200" algn="l"/>
              </a:tabLst>
            </a:pPr>
            <a:r>
              <a:rPr lang="en-US" sz="2000" b="1">
                <a:solidFill>
                  <a:schemeClr val="bg1">
                    <a:lumMod val="85000"/>
                  </a:schemeClr>
                </a:solidFill>
                <a:cs typeface="Calibri"/>
              </a:rPr>
              <a:t>January 8</a:t>
            </a:r>
          </a:p>
          <a:p>
            <a:pPr marL="285750" lvl="1" indent="-285750">
              <a:lnSpc>
                <a:spcPct val="100000"/>
              </a:lnSpc>
              <a:spcBef>
                <a:spcPts val="0"/>
              </a:spcBef>
              <a:spcAft>
                <a:spcPts val="600"/>
              </a:spcAft>
              <a:buClr>
                <a:srgbClr val="DC582A"/>
              </a:buClr>
              <a:buSzPct val="110000"/>
              <a:tabLst>
                <a:tab pos="457200" algn="l"/>
              </a:tabLst>
            </a:pPr>
            <a:r>
              <a:rPr lang="en-US" sz="2000" b="1">
                <a:solidFill>
                  <a:schemeClr val="bg1">
                    <a:lumMod val="85000"/>
                  </a:schemeClr>
                </a:solidFill>
                <a:cs typeface="Calibri"/>
              </a:rPr>
              <a:t>February 12</a:t>
            </a:r>
          </a:p>
          <a:p>
            <a:pPr>
              <a:spcBef>
                <a:spcPts val="0"/>
              </a:spcBef>
              <a:spcAft>
                <a:spcPts val="600"/>
              </a:spcAft>
              <a:buClr>
                <a:srgbClr val="DC582A"/>
              </a:buClr>
              <a:tabLst>
                <a:tab pos="457200" algn="l"/>
              </a:tabLst>
            </a:pPr>
            <a:r>
              <a:rPr lang="en-US" sz="2000" b="1">
                <a:solidFill>
                  <a:schemeClr val="bg1">
                    <a:lumMod val="85000"/>
                  </a:schemeClr>
                </a:solidFill>
                <a:cs typeface="Calibri"/>
              </a:rPr>
              <a:t>March 12</a:t>
            </a:r>
          </a:p>
          <a:p>
            <a:pPr marL="285750" lvl="1" indent="-285750">
              <a:lnSpc>
                <a:spcPct val="100000"/>
              </a:lnSpc>
              <a:spcBef>
                <a:spcPts val="0"/>
              </a:spcBef>
              <a:spcAft>
                <a:spcPts val="600"/>
              </a:spcAft>
              <a:buClr>
                <a:srgbClr val="DC582A"/>
              </a:buClr>
              <a:buSzPct val="110000"/>
              <a:tabLst>
                <a:tab pos="457200" algn="l"/>
              </a:tabLst>
            </a:pPr>
            <a:r>
              <a:rPr lang="en-US" sz="2000" b="1">
                <a:solidFill>
                  <a:schemeClr val="bg1">
                    <a:lumMod val="85000"/>
                  </a:schemeClr>
                </a:solidFill>
                <a:cs typeface="Calibri"/>
              </a:rPr>
              <a:t>April 9</a:t>
            </a:r>
          </a:p>
          <a:p>
            <a:pPr>
              <a:spcBef>
                <a:spcPts val="0"/>
              </a:spcBef>
              <a:spcAft>
                <a:spcPts val="600"/>
              </a:spcAft>
              <a:buClr>
                <a:srgbClr val="DC582A"/>
              </a:buClr>
              <a:tabLst>
                <a:tab pos="457200" algn="l"/>
              </a:tabLst>
            </a:pPr>
            <a:r>
              <a:rPr lang="en-US" sz="2000" b="1">
                <a:solidFill>
                  <a:schemeClr val="bg1">
                    <a:lumMod val="85000"/>
                  </a:schemeClr>
                </a:solidFill>
                <a:cs typeface="Calibri"/>
              </a:rPr>
              <a:t>May 14</a:t>
            </a:r>
          </a:p>
          <a:p>
            <a:pPr>
              <a:spcBef>
                <a:spcPts val="0"/>
              </a:spcBef>
              <a:spcAft>
                <a:spcPts val="600"/>
              </a:spcAft>
              <a:buClr>
                <a:srgbClr val="DC582A"/>
              </a:buClr>
              <a:tabLst>
                <a:tab pos="457200" algn="l"/>
              </a:tabLst>
            </a:pPr>
            <a:r>
              <a:rPr lang="en-US" sz="2000" b="1">
                <a:solidFill>
                  <a:schemeClr val="bg1">
                    <a:lumMod val="85000"/>
                  </a:schemeClr>
                </a:solidFill>
                <a:cs typeface="Calibri"/>
              </a:rPr>
              <a:t>June 11</a:t>
            </a:r>
          </a:p>
        </p:txBody>
      </p:sp>
      <p:pic>
        <p:nvPicPr>
          <p:cNvPr id="26" name="Picture Placeholder 25">
            <a:extLst>
              <a:ext uri="{FF2B5EF4-FFF2-40B4-BE49-F238E27FC236}">
                <a16:creationId xmlns:a16="http://schemas.microsoft.com/office/drawing/2014/main" id="{8BCCD56F-F259-B481-81CA-3DA97C28CA79}"/>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3" cstate="email">
            <a:extLst>
              <a:ext uri="{28A0092B-C50C-407E-A947-70E740481C1C}">
                <a14:useLocalDpi xmlns:a14="http://schemas.microsoft.com/office/drawing/2010/main"/>
              </a:ext>
            </a:extLst>
          </a:blip>
          <a:srcRect b="-603"/>
          <a:stretch/>
        </p:blipFill>
        <p:spPr>
          <a:xfrm>
            <a:off x="8874407" y="-121920"/>
            <a:ext cx="3450943" cy="7061698"/>
          </a:xfrm>
        </p:spPr>
      </p:pic>
      <p:pic>
        <p:nvPicPr>
          <p:cNvPr id="27" name="Picture 2" descr="QR code linking to the Do Business at DEN calendar https://www.eventbrite.com/e/taking-flight-at-den-tickets-1975151824276?aff=oddtdtcreator.">
            <a:extLst>
              <a:ext uri="{FF2B5EF4-FFF2-40B4-BE49-F238E27FC236}">
                <a16:creationId xmlns:a16="http://schemas.microsoft.com/office/drawing/2014/main" id="{2CA07076-17AB-00E5-6AC1-BEF1779097D5}"/>
              </a:ext>
              <a:ext uri="{C183D7F6-B498-43B3-948B-1728B52AA6E4}">
                <adec:decorative xmlns:adec="http://schemas.microsoft.com/office/drawing/2017/decorative" val="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916041" y="5810250"/>
            <a:ext cx="912959" cy="912959"/>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8">
            <a:extLst>
              <a:ext uri="{FF2B5EF4-FFF2-40B4-BE49-F238E27FC236}">
                <a16:creationId xmlns:a16="http://schemas.microsoft.com/office/drawing/2014/main" id="{28D79C2F-8ABD-92C1-4711-C07649CD4910}"/>
              </a:ext>
              <a:ext uri="{C183D7F6-B498-43B3-948B-1728B52AA6E4}">
                <adec:decorative xmlns:adec="http://schemas.microsoft.com/office/drawing/2017/decorative" val="1"/>
              </a:ext>
            </a:extLst>
          </p:cNvPr>
          <p:cNvSpPr txBox="1">
            <a:spLocks/>
          </p:cNvSpPr>
          <p:nvPr/>
        </p:nvSpPr>
        <p:spPr>
          <a:xfrm>
            <a:off x="3040203" y="2485925"/>
            <a:ext cx="6170471" cy="3046075"/>
          </a:xfrm>
          <a:prstGeom prst="rect">
            <a:avLst/>
          </a:prstGeom>
        </p:spPr>
        <p:txBody>
          <a:bodyPr lIns="91440" tIns="45720" rIns="91440" bIns="45720" anchor="t"/>
          <a:lstStyle>
            <a:lvl1pPr marL="285750" indent="-285750" algn="l" defTabSz="914400" rtl="0" eaLnBrk="1" latinLnBrk="0" hangingPunct="1">
              <a:lnSpc>
                <a:spcPct val="100000"/>
              </a:lnSpc>
              <a:spcBef>
                <a:spcPts val="1000"/>
              </a:spcBef>
              <a:buClr>
                <a:srgbClr val="C3D831"/>
              </a:buClr>
              <a:buSzPct val="110000"/>
              <a:buFont typeface="Arial" panose="020B0604020202020204" pitchFamily="34" charset="0"/>
              <a:buChar char="•"/>
              <a:defRPr sz="1400" kern="1200">
                <a:solidFill>
                  <a:schemeClr val="bg2">
                    <a:lumMod val="1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lumMod val="75000"/>
                </a:schemeClr>
              </a:buClr>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lumMod val="75000"/>
                </a:schemeClr>
              </a:buClr>
              <a:buFont typeface="Arial" panose="020B0604020202020204" pitchFamily="34" charset="0"/>
              <a:buChar char="•"/>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Clr>
                <a:schemeClr val="bg2">
                  <a:lumMod val="75000"/>
                </a:schemeClr>
              </a:buClr>
              <a:buFont typeface="Arial" panose="020B0604020202020204" pitchFamily="34" charset="0"/>
              <a:buNone/>
              <a:defRPr sz="1400" kern="1200">
                <a:solidFill>
                  <a:schemeClr val="tx1"/>
                </a:solidFill>
                <a:latin typeface="+mn-lt"/>
                <a:ea typeface="+mn-ea"/>
                <a:cs typeface="+mn-cs"/>
              </a:defRPr>
            </a:lvl5pPr>
            <a:lvl6pPr marL="2514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600"/>
              </a:spcAft>
              <a:buClr>
                <a:srgbClr val="DC582A"/>
              </a:buClr>
              <a:tabLst>
                <a:tab pos="457200" algn="l"/>
              </a:tabLst>
            </a:pPr>
            <a:r>
              <a:rPr lang="en-US" sz="2000" b="1">
                <a:solidFill>
                  <a:schemeClr val="tx1"/>
                </a:solidFill>
                <a:cs typeface="Calibri"/>
              </a:rPr>
              <a:t>July 9</a:t>
            </a:r>
          </a:p>
          <a:p>
            <a:pPr>
              <a:spcBef>
                <a:spcPts val="0"/>
              </a:spcBef>
              <a:spcAft>
                <a:spcPts val="600"/>
              </a:spcAft>
              <a:buClr>
                <a:srgbClr val="DC582A"/>
              </a:buClr>
              <a:tabLst>
                <a:tab pos="457200" algn="l"/>
              </a:tabLst>
            </a:pPr>
            <a:r>
              <a:rPr lang="en-US" sz="2000" b="1">
                <a:solidFill>
                  <a:schemeClr val="tx1"/>
                </a:solidFill>
                <a:cs typeface="Calibri"/>
              </a:rPr>
              <a:t>September 10</a:t>
            </a:r>
          </a:p>
          <a:p>
            <a:pPr>
              <a:spcBef>
                <a:spcPts val="0"/>
              </a:spcBef>
              <a:spcAft>
                <a:spcPts val="600"/>
              </a:spcAft>
              <a:buClr>
                <a:srgbClr val="DC582A"/>
              </a:buClr>
              <a:tabLst>
                <a:tab pos="457200" algn="l"/>
              </a:tabLst>
            </a:pPr>
            <a:r>
              <a:rPr lang="en-US" sz="2000" b="1" i="1">
                <a:solidFill>
                  <a:srgbClr val="E35B2A"/>
                </a:solidFill>
                <a:cs typeface="Calibri"/>
              </a:rPr>
              <a:t>August</a:t>
            </a:r>
            <a:r>
              <a:rPr lang="en-US" sz="2000" b="1">
                <a:solidFill>
                  <a:schemeClr val="tx1"/>
                </a:solidFill>
                <a:cs typeface="Calibri"/>
              </a:rPr>
              <a:t> </a:t>
            </a:r>
            <a:r>
              <a:rPr lang="en-US" sz="2000" i="1">
                <a:solidFill>
                  <a:srgbClr val="E35B2A"/>
                </a:solidFill>
                <a:cs typeface="Calibri"/>
              </a:rPr>
              <a:t>**No TFD this month please attend DEN’s Procurement Tradeshow</a:t>
            </a:r>
          </a:p>
          <a:p>
            <a:pPr>
              <a:spcBef>
                <a:spcPts val="0"/>
              </a:spcBef>
              <a:spcAft>
                <a:spcPts val="600"/>
              </a:spcAft>
              <a:buClr>
                <a:srgbClr val="DC582A"/>
              </a:buClr>
              <a:tabLst>
                <a:tab pos="457200" algn="l"/>
              </a:tabLst>
            </a:pPr>
            <a:r>
              <a:rPr lang="en-US" sz="2000" b="1">
                <a:solidFill>
                  <a:schemeClr val="tx1"/>
                </a:solidFill>
                <a:cs typeface="Calibri"/>
              </a:rPr>
              <a:t>October 8</a:t>
            </a:r>
          </a:p>
          <a:p>
            <a:pPr>
              <a:spcBef>
                <a:spcPts val="0"/>
              </a:spcBef>
              <a:spcAft>
                <a:spcPts val="600"/>
              </a:spcAft>
              <a:buClr>
                <a:srgbClr val="DC582A"/>
              </a:buClr>
              <a:tabLst>
                <a:tab pos="457200" algn="l"/>
              </a:tabLst>
            </a:pPr>
            <a:r>
              <a:rPr lang="en-US" sz="2000" b="1">
                <a:solidFill>
                  <a:schemeClr val="tx1"/>
                </a:solidFill>
                <a:cs typeface="Calibri"/>
              </a:rPr>
              <a:t>November 12</a:t>
            </a:r>
          </a:p>
          <a:p>
            <a:pPr>
              <a:spcBef>
                <a:spcPts val="0"/>
              </a:spcBef>
              <a:spcAft>
                <a:spcPts val="600"/>
              </a:spcAft>
              <a:buClr>
                <a:srgbClr val="DC582A"/>
              </a:buClr>
              <a:tabLst>
                <a:tab pos="457200" algn="l"/>
              </a:tabLst>
            </a:pPr>
            <a:r>
              <a:rPr lang="en-US" sz="2000" b="1">
                <a:solidFill>
                  <a:schemeClr val="tx1"/>
                </a:solidFill>
                <a:cs typeface="Calibri"/>
              </a:rPr>
              <a:t>December 10</a:t>
            </a:r>
          </a:p>
        </p:txBody>
      </p:sp>
    </p:spTree>
    <p:extLst>
      <p:ext uri="{BB962C8B-B14F-4D97-AF65-F5344CB8AC3E}">
        <p14:creationId xmlns:p14="http://schemas.microsoft.com/office/powerpoint/2010/main" val="17742229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39C162-ECFC-AEE3-6BD0-39591E9DCF79}"/>
            </a:ext>
          </a:extLst>
        </p:cNvPr>
        <p:cNvGrpSpPr/>
        <p:nvPr/>
      </p:nvGrpSpPr>
      <p:grpSpPr>
        <a:xfrm>
          <a:off x="0" y="0"/>
          <a:ext cx="0" cy="0"/>
          <a:chOff x="0" y="0"/>
          <a:chExt cx="0" cy="0"/>
        </a:xfrm>
      </p:grpSpPr>
      <p:sp>
        <p:nvSpPr>
          <p:cNvPr id="5" name="Text Placeholder 4" descr="​Meet the Primes, is a virtual outreach series intended to bring together firms who are working as a Prime at DEN and help connect them with local, small, and historically underutilized firms. &#10;&#10;These are held every other month on the 3rd Thursday&#10;Please go to https://www.eventbrite.com/o/doing-business-at-den-8527643555 for the event calendar. &#10;">
            <a:extLst>
              <a:ext uri="{FF2B5EF4-FFF2-40B4-BE49-F238E27FC236}">
                <a16:creationId xmlns:a16="http://schemas.microsoft.com/office/drawing/2014/main" id="{5D1B64AE-6CAA-5786-D008-76ADEDF00B76}"/>
              </a:ext>
              <a:ext uri="{C183D7F6-B498-43B3-948B-1728B52AA6E4}">
                <adec:decorative xmlns:adec="http://schemas.microsoft.com/office/drawing/2017/decorative" val="0"/>
              </a:ext>
            </a:extLst>
          </p:cNvPr>
          <p:cNvSpPr>
            <a:spLocks noGrp="1"/>
          </p:cNvSpPr>
          <p:nvPr>
            <p:ph type="title" idx="4294967295"/>
          </p:nvPr>
        </p:nvSpPr>
        <p:spPr>
          <a:xfrm>
            <a:off x="770439" y="496503"/>
            <a:ext cx="869440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440099"/>
                </a:solidFill>
                <a:effectLst/>
                <a:uLnTx/>
                <a:uFillTx/>
                <a:latin typeface="+mn-lt"/>
                <a:ea typeface="+mn-ea"/>
                <a:cs typeface="+mn-cs"/>
              </a:rPr>
              <a:t>Meet the Primes</a:t>
            </a:r>
          </a:p>
        </p:txBody>
      </p:sp>
      <p:sp>
        <p:nvSpPr>
          <p:cNvPr id="16" name="Text Placeholder 15">
            <a:extLst>
              <a:ext uri="{FF2B5EF4-FFF2-40B4-BE49-F238E27FC236}">
                <a16:creationId xmlns:a16="http://schemas.microsoft.com/office/drawing/2014/main" id="{D604CA36-2878-AC7D-FD1E-BA2EB830C8B0}"/>
              </a:ext>
              <a:ext uri="{C183D7F6-B498-43B3-948B-1728B52AA6E4}">
                <adec:decorative xmlns:adec="http://schemas.microsoft.com/office/drawing/2017/decorative" val="1"/>
              </a:ext>
            </a:extLst>
          </p:cNvPr>
          <p:cNvSpPr>
            <a:spLocks noGrp="1"/>
          </p:cNvSpPr>
          <p:nvPr>
            <p:ph type="body" sz="quarter" idx="12"/>
          </p:nvPr>
        </p:nvSpPr>
        <p:spPr/>
        <p:txBody>
          <a:bodyPr/>
          <a:lstStyle/>
          <a:p>
            <a:endParaRPr lang="en-US"/>
          </a:p>
        </p:txBody>
      </p:sp>
      <p:sp>
        <p:nvSpPr>
          <p:cNvPr id="15" name="Text Placeholder 14">
            <a:extLst>
              <a:ext uri="{FF2B5EF4-FFF2-40B4-BE49-F238E27FC236}">
                <a16:creationId xmlns:a16="http://schemas.microsoft.com/office/drawing/2014/main" id="{6EA70EE1-F49E-293D-6DB2-7913E0BAF347}"/>
              </a:ext>
              <a:ext uri="{C183D7F6-B498-43B3-948B-1728B52AA6E4}">
                <adec:decorative xmlns:adec="http://schemas.microsoft.com/office/drawing/2017/decorative" val="1"/>
              </a:ext>
            </a:extLst>
          </p:cNvPr>
          <p:cNvSpPr>
            <a:spLocks noGrp="1"/>
          </p:cNvSpPr>
          <p:nvPr>
            <p:ph type="body" sz="quarter" idx="13"/>
          </p:nvPr>
        </p:nvSpPr>
        <p:spPr>
          <a:xfrm>
            <a:off x="769938" y="1350483"/>
            <a:ext cx="7877175" cy="578318"/>
          </a:xfrm>
        </p:spPr>
        <p:txBody>
          <a:bodyPr/>
          <a:lstStyle/>
          <a:p>
            <a:pPr algn="l"/>
            <a:r>
              <a:rPr lang="en-US" b="1"/>
              <a:t>Virtual outreach event held every other month to connect Prime firms at DEN with local, small, and historically underutilized firms, scheduled for the 3rd Thursday at 1 p.m.</a:t>
            </a:r>
          </a:p>
          <a:p>
            <a:endParaRPr lang="en-US" b="1"/>
          </a:p>
        </p:txBody>
      </p:sp>
      <p:sp>
        <p:nvSpPr>
          <p:cNvPr id="9" name="Text Placeholder 8">
            <a:extLst>
              <a:ext uri="{FF2B5EF4-FFF2-40B4-BE49-F238E27FC236}">
                <a16:creationId xmlns:a16="http://schemas.microsoft.com/office/drawing/2014/main" id="{EB8D038C-63A8-A3ED-E784-1A678FE3EFC1}"/>
              </a:ext>
              <a:ext uri="{C183D7F6-B498-43B3-948B-1728B52AA6E4}">
                <adec:decorative xmlns:adec="http://schemas.microsoft.com/office/drawing/2017/decorative" val="1"/>
              </a:ext>
            </a:extLst>
          </p:cNvPr>
          <p:cNvSpPr>
            <a:spLocks noGrp="1"/>
          </p:cNvSpPr>
          <p:nvPr>
            <p:ph type="body" sz="quarter" idx="14"/>
          </p:nvPr>
        </p:nvSpPr>
        <p:spPr>
          <a:xfrm>
            <a:off x="810964" y="2065582"/>
            <a:ext cx="8449287" cy="4295915"/>
          </a:xfrm>
        </p:spPr>
        <p:txBody>
          <a:bodyPr lIns="91440" tIns="45720" rIns="91440" bIns="45720" anchor="t"/>
          <a:lstStyle/>
          <a:p>
            <a:pPr marL="0" indent="0">
              <a:spcBef>
                <a:spcPts val="0"/>
              </a:spcBef>
              <a:buClr>
                <a:srgbClr val="E35B2A"/>
              </a:buClr>
              <a:buNone/>
              <a:tabLst>
                <a:tab pos="457200" algn="l"/>
              </a:tabLst>
            </a:pPr>
            <a:r>
              <a:rPr lang="en-US" sz="1500" b="1">
                <a:solidFill>
                  <a:schemeClr val="bg1">
                    <a:lumMod val="65000"/>
                  </a:schemeClr>
                </a:solidFill>
                <a:cs typeface="Calibri"/>
              </a:rPr>
              <a:t>February 19 </a:t>
            </a:r>
            <a:r>
              <a:rPr lang="en-US" sz="1500">
                <a:solidFill>
                  <a:schemeClr val="bg1">
                    <a:lumMod val="65000"/>
                  </a:schemeClr>
                </a:solidFill>
                <a:cs typeface="Calibri"/>
              </a:rPr>
              <a:t>- Concessions Prime Operators </a:t>
            </a:r>
            <a:endParaRPr lang="en-US" sz="1500">
              <a:solidFill>
                <a:schemeClr val="bg1">
                  <a:lumMod val="65000"/>
                </a:schemeClr>
              </a:solidFill>
              <a:ea typeface="Calibri"/>
              <a:cs typeface="Calibri"/>
            </a:endParaRPr>
          </a:p>
          <a:p>
            <a:pPr marL="0" indent="0">
              <a:spcBef>
                <a:spcPts val="0"/>
              </a:spcBef>
              <a:buClr>
                <a:srgbClr val="E35B2A"/>
              </a:buClr>
              <a:buNone/>
              <a:tabLst>
                <a:tab pos="457200" algn="l"/>
              </a:tabLst>
            </a:pPr>
            <a:r>
              <a:rPr lang="en-US" sz="1500" i="1">
                <a:solidFill>
                  <a:schemeClr val="bg1">
                    <a:lumMod val="65000"/>
                  </a:schemeClr>
                </a:solidFill>
                <a:ea typeface="Calibri"/>
                <a:cs typeface="Calibri"/>
              </a:rPr>
              <a:t>**Time Change 10 am**</a:t>
            </a:r>
            <a:br>
              <a:rPr lang="en-US" sz="1500">
                <a:solidFill>
                  <a:schemeClr val="bg1">
                    <a:lumMod val="65000"/>
                  </a:schemeClr>
                </a:solidFill>
                <a:ea typeface="Calibri"/>
                <a:cs typeface="Calibri"/>
              </a:rPr>
            </a:br>
            <a:r>
              <a:rPr lang="en-US" sz="1500" b="1">
                <a:solidFill>
                  <a:schemeClr val="bg1">
                    <a:lumMod val="65000"/>
                  </a:schemeClr>
                </a:solidFill>
                <a:highlight>
                  <a:srgbClr val="FFFFFF"/>
                </a:highlight>
                <a:ea typeface="Calibri"/>
                <a:cs typeface="Calibri"/>
              </a:rPr>
              <a:t>Confirmed:</a:t>
            </a:r>
            <a:r>
              <a:rPr lang="en-US" sz="1500">
                <a:solidFill>
                  <a:schemeClr val="bg1">
                    <a:lumMod val="65000"/>
                  </a:schemeClr>
                </a:solidFill>
                <a:highlight>
                  <a:srgbClr val="FFFFFF"/>
                </a:highlight>
                <a:ea typeface="Calibri"/>
                <a:cs typeface="Calibri"/>
              </a:rPr>
              <a:t> High Flying Foods, Hudson and </a:t>
            </a:r>
            <a:r>
              <a:rPr lang="en-US" sz="1500" err="1">
                <a:solidFill>
                  <a:schemeClr val="bg1">
                    <a:lumMod val="65000"/>
                  </a:schemeClr>
                </a:solidFill>
                <a:highlight>
                  <a:srgbClr val="FFFFFF"/>
                </a:highlight>
                <a:ea typeface="Calibri"/>
                <a:cs typeface="Calibri"/>
              </a:rPr>
              <a:t>Dufry</a:t>
            </a:r>
            <a:r>
              <a:rPr lang="en-US" sz="1500">
                <a:solidFill>
                  <a:schemeClr val="bg1">
                    <a:lumMod val="65000"/>
                  </a:schemeClr>
                </a:solidFill>
                <a:highlight>
                  <a:srgbClr val="FFFFFF"/>
                </a:highlight>
                <a:ea typeface="Calibri"/>
                <a:cs typeface="Calibri"/>
              </a:rPr>
              <a:t>, and WH Smith North America</a:t>
            </a:r>
            <a:br>
              <a:rPr lang="en-US" sz="1500">
                <a:highlight>
                  <a:srgbClr val="FFFFFF"/>
                </a:highlight>
                <a:ea typeface="Calibri"/>
                <a:cs typeface="Calibri"/>
              </a:rPr>
            </a:br>
            <a:endParaRPr lang="en-US" sz="1500">
              <a:solidFill>
                <a:schemeClr val="tx1"/>
              </a:solidFill>
              <a:ea typeface="Calibri"/>
              <a:cs typeface="Calibri"/>
            </a:endParaRPr>
          </a:p>
          <a:p>
            <a:pPr marL="0" indent="0">
              <a:spcBef>
                <a:spcPts val="0"/>
              </a:spcBef>
              <a:buClr>
                <a:srgbClr val="E35B2A"/>
              </a:buClr>
              <a:buNone/>
              <a:tabLst>
                <a:tab pos="457200" algn="l"/>
              </a:tabLst>
            </a:pPr>
            <a:r>
              <a:rPr lang="en-US" sz="1500" b="1">
                <a:solidFill>
                  <a:schemeClr val="bg1">
                    <a:lumMod val="75000"/>
                  </a:schemeClr>
                </a:solidFill>
                <a:cs typeface="Calibri"/>
              </a:rPr>
              <a:t>April 16 </a:t>
            </a:r>
            <a:r>
              <a:rPr lang="en-US" sz="1500">
                <a:solidFill>
                  <a:schemeClr val="bg1">
                    <a:lumMod val="75000"/>
                  </a:schemeClr>
                </a:solidFill>
                <a:cs typeface="Calibri"/>
              </a:rPr>
              <a:t>- Rental Car Company </a:t>
            </a:r>
            <a:endParaRPr lang="en-US" sz="1500">
              <a:solidFill>
                <a:schemeClr val="bg1">
                  <a:lumMod val="75000"/>
                </a:schemeClr>
              </a:solidFill>
              <a:ea typeface="Calibri"/>
              <a:cs typeface="Calibri"/>
            </a:endParaRPr>
          </a:p>
          <a:p>
            <a:pPr marL="0" indent="0">
              <a:spcBef>
                <a:spcPts val="0"/>
              </a:spcBef>
              <a:buNone/>
              <a:tabLst>
                <a:tab pos="457200" algn="l"/>
              </a:tabLst>
            </a:pPr>
            <a:r>
              <a:rPr lang="en-US" sz="1500" b="1">
                <a:solidFill>
                  <a:schemeClr val="bg1">
                    <a:lumMod val="75000"/>
                  </a:schemeClr>
                </a:solidFill>
                <a:ea typeface="Calibri"/>
                <a:cs typeface="Calibri"/>
              </a:rPr>
              <a:t>Confirmed:</a:t>
            </a:r>
            <a:r>
              <a:rPr lang="en-US" sz="1500">
                <a:solidFill>
                  <a:schemeClr val="bg1">
                    <a:lumMod val="75000"/>
                  </a:schemeClr>
                </a:solidFill>
                <a:ea typeface="Calibri"/>
                <a:cs typeface="Calibri"/>
              </a:rPr>
              <a:t> Enterprise Mobility</a:t>
            </a:r>
            <a:endParaRPr lang="en-US">
              <a:solidFill>
                <a:schemeClr val="bg1">
                  <a:lumMod val="75000"/>
                </a:schemeClr>
              </a:solidFill>
            </a:endParaRPr>
          </a:p>
          <a:p>
            <a:pPr marL="0" indent="0">
              <a:spcBef>
                <a:spcPts val="0"/>
              </a:spcBef>
              <a:buClr>
                <a:srgbClr val="E35B2A"/>
              </a:buClr>
              <a:buNone/>
              <a:tabLst>
                <a:tab pos="457200" algn="l"/>
              </a:tabLst>
            </a:pPr>
            <a:br>
              <a:rPr lang="en-US" sz="1500" b="1">
                <a:cs typeface="Calibri"/>
              </a:rPr>
            </a:br>
            <a:r>
              <a:rPr lang="en-US" sz="1500" b="1">
                <a:solidFill>
                  <a:schemeClr val="tx1"/>
                </a:solidFill>
                <a:cs typeface="Calibri"/>
              </a:rPr>
              <a:t>June 18- </a:t>
            </a:r>
            <a:r>
              <a:rPr lang="en-US" sz="1500">
                <a:solidFill>
                  <a:schemeClr val="tx1"/>
                </a:solidFill>
                <a:cs typeface="Calibri"/>
              </a:rPr>
              <a:t>General Contractors</a:t>
            </a:r>
            <a:endParaRPr lang="en-US" sz="1500">
              <a:solidFill>
                <a:schemeClr val="tx1"/>
              </a:solidFill>
              <a:ea typeface="Calibri"/>
              <a:cs typeface="Calibri"/>
            </a:endParaRPr>
          </a:p>
          <a:p>
            <a:pPr marL="0" indent="0">
              <a:spcBef>
                <a:spcPts val="0"/>
              </a:spcBef>
              <a:buClr>
                <a:srgbClr val="E35B2A"/>
              </a:buClr>
              <a:buNone/>
              <a:tabLst>
                <a:tab pos="457200" algn="l"/>
              </a:tabLst>
            </a:pPr>
            <a:r>
              <a:rPr lang="en-US" sz="1500" b="1">
                <a:solidFill>
                  <a:srgbClr val="DC582A"/>
                </a:solidFill>
                <a:ea typeface="Calibri"/>
                <a:cs typeface="Calibri"/>
              </a:rPr>
              <a:t>Confirmed: </a:t>
            </a:r>
            <a:r>
              <a:rPr lang="en-US" sz="1500">
                <a:solidFill>
                  <a:schemeClr val="tx1"/>
                </a:solidFill>
                <a:ea typeface="Calibri"/>
                <a:cs typeface="Calibri"/>
              </a:rPr>
              <a:t>Hensel Phelps, Gilmore, WCG, Swinerton, PCL, Turner Construction Company and Select Building Group Commercial</a:t>
            </a:r>
          </a:p>
          <a:p>
            <a:pPr marL="0" indent="0">
              <a:spcBef>
                <a:spcPts val="0"/>
              </a:spcBef>
              <a:buClr>
                <a:srgbClr val="E35B2A"/>
              </a:buClr>
              <a:buNone/>
              <a:tabLst>
                <a:tab pos="457200" algn="l"/>
              </a:tabLst>
            </a:pPr>
            <a:endParaRPr lang="en-US" sz="1500">
              <a:solidFill>
                <a:schemeClr val="tx1"/>
              </a:solidFill>
              <a:ea typeface="Calibri"/>
              <a:cs typeface="Calibri"/>
            </a:endParaRPr>
          </a:p>
          <a:p>
            <a:pPr marL="0" indent="0">
              <a:spcBef>
                <a:spcPts val="0"/>
              </a:spcBef>
              <a:buClr>
                <a:srgbClr val="E35B2A"/>
              </a:buClr>
              <a:buNone/>
              <a:tabLst>
                <a:tab pos="457200" algn="l"/>
              </a:tabLst>
            </a:pPr>
            <a:r>
              <a:rPr lang="en-US" sz="1600" b="1" i="1">
                <a:solidFill>
                  <a:srgbClr val="E35B2A"/>
                </a:solidFill>
                <a:cs typeface="Calibri"/>
              </a:rPr>
              <a:t>August</a:t>
            </a:r>
            <a:r>
              <a:rPr lang="en-US" sz="1600" i="1">
                <a:solidFill>
                  <a:srgbClr val="E35B2A"/>
                </a:solidFill>
                <a:cs typeface="Calibri"/>
              </a:rPr>
              <a:t> **No MTP this month please attend DEN’s Procurement Tradeshow</a:t>
            </a:r>
          </a:p>
          <a:p>
            <a:pPr marL="0" indent="0">
              <a:spcBef>
                <a:spcPts val="0"/>
              </a:spcBef>
              <a:buClr>
                <a:srgbClr val="E35B2A"/>
              </a:buClr>
              <a:buNone/>
              <a:tabLst>
                <a:tab pos="457200" algn="l"/>
              </a:tabLst>
            </a:pPr>
            <a:endParaRPr lang="en-US" sz="1500">
              <a:solidFill>
                <a:schemeClr val="tx1"/>
              </a:solidFill>
              <a:ea typeface="Calibri"/>
              <a:cs typeface="Calibri"/>
            </a:endParaRPr>
          </a:p>
          <a:p>
            <a:pPr marL="0" indent="0">
              <a:spcBef>
                <a:spcPts val="0"/>
              </a:spcBef>
              <a:buClr>
                <a:srgbClr val="E35B2A"/>
              </a:buClr>
              <a:buNone/>
              <a:tabLst>
                <a:tab pos="457200" algn="l"/>
              </a:tabLst>
            </a:pPr>
            <a:r>
              <a:rPr lang="en-US" sz="1500" b="1">
                <a:solidFill>
                  <a:schemeClr val="tx1"/>
                </a:solidFill>
                <a:cs typeface="Calibri"/>
              </a:rPr>
              <a:t>October 15 </a:t>
            </a:r>
            <a:r>
              <a:rPr lang="en-US" sz="1500">
                <a:solidFill>
                  <a:schemeClr val="tx1"/>
                </a:solidFill>
                <a:cs typeface="Calibri"/>
              </a:rPr>
              <a:t>- Construction Specialty Trade Contractor</a:t>
            </a:r>
            <a:endParaRPr lang="en-US" sz="1500">
              <a:solidFill>
                <a:schemeClr val="tx1"/>
              </a:solidFill>
              <a:ea typeface="Calibri"/>
              <a:cs typeface="Calibri"/>
            </a:endParaRPr>
          </a:p>
          <a:p>
            <a:pPr marL="0" indent="0">
              <a:spcBef>
                <a:spcPts val="0"/>
              </a:spcBef>
              <a:buNone/>
              <a:tabLst>
                <a:tab pos="457200" algn="l"/>
              </a:tabLst>
            </a:pPr>
            <a:r>
              <a:rPr lang="en-US" sz="1500" b="1">
                <a:solidFill>
                  <a:srgbClr val="DC582A"/>
                </a:solidFill>
                <a:highlight>
                  <a:srgbClr val="FFFFFF"/>
                </a:highlight>
                <a:ea typeface="Calibri"/>
                <a:cs typeface="Calibri"/>
              </a:rPr>
              <a:t>Confirmed: </a:t>
            </a:r>
            <a:r>
              <a:rPr lang="en-US" sz="1500">
                <a:solidFill>
                  <a:schemeClr val="tx1"/>
                </a:solidFill>
                <a:highlight>
                  <a:srgbClr val="FFFFFF"/>
                </a:highlight>
                <a:ea typeface="Calibri"/>
                <a:cs typeface="Calibri"/>
              </a:rPr>
              <a:t>ISEC, Inc., Denver Pumps</a:t>
            </a:r>
            <a:endParaRPr lang="en-US">
              <a:solidFill>
                <a:schemeClr val="tx1"/>
              </a:solidFill>
              <a:ea typeface="Calibri"/>
              <a:cs typeface="Calibri"/>
            </a:endParaRPr>
          </a:p>
          <a:p>
            <a:pPr marL="0" indent="0">
              <a:spcBef>
                <a:spcPts val="0"/>
              </a:spcBef>
              <a:buClr>
                <a:srgbClr val="E35B2A"/>
              </a:buClr>
              <a:buNone/>
              <a:tabLst>
                <a:tab pos="457200" algn="l"/>
              </a:tabLst>
            </a:pPr>
            <a:br>
              <a:rPr lang="en-US" sz="1500" b="1">
                <a:cs typeface="Calibri"/>
              </a:rPr>
            </a:br>
            <a:r>
              <a:rPr lang="en-US" sz="1500" b="1">
                <a:solidFill>
                  <a:schemeClr val="tx1"/>
                </a:solidFill>
                <a:cs typeface="Calibri"/>
              </a:rPr>
              <a:t>December 17 </a:t>
            </a:r>
            <a:r>
              <a:rPr lang="en-US" sz="1500">
                <a:solidFill>
                  <a:schemeClr val="tx1"/>
                </a:solidFill>
                <a:cs typeface="Calibri"/>
              </a:rPr>
              <a:t>-  Architecture, Engineering, and Professional Services</a:t>
            </a:r>
            <a:br>
              <a:rPr lang="en-US" sz="1500">
                <a:ea typeface="Calibri"/>
                <a:cs typeface="Calibri"/>
              </a:rPr>
            </a:br>
            <a:r>
              <a:rPr lang="en-US" sz="1500" b="1">
                <a:solidFill>
                  <a:srgbClr val="DC582A"/>
                </a:solidFill>
                <a:highlight>
                  <a:srgbClr val="FFFFFF"/>
                </a:highlight>
                <a:ea typeface="Calibri"/>
                <a:cs typeface="Calibri"/>
              </a:rPr>
              <a:t>Confirmed:</a:t>
            </a:r>
            <a:r>
              <a:rPr lang="en-US" sz="1500" b="1">
                <a:solidFill>
                  <a:schemeClr val="tx1"/>
                </a:solidFill>
                <a:highlight>
                  <a:srgbClr val="FFFFFF"/>
                </a:highlight>
                <a:ea typeface="Calibri"/>
                <a:cs typeface="Calibri"/>
              </a:rPr>
              <a:t> </a:t>
            </a:r>
            <a:r>
              <a:rPr lang="en-US" sz="1500">
                <a:solidFill>
                  <a:schemeClr val="tx1"/>
                </a:solidFill>
                <a:highlight>
                  <a:srgbClr val="FFFFFF"/>
                </a:highlight>
                <a:ea typeface="Calibri"/>
                <a:cs typeface="Calibri"/>
              </a:rPr>
              <a:t>HDR, HNTB, Garver, Jacobs, </a:t>
            </a:r>
            <a:r>
              <a:rPr lang="en-US" sz="1500" err="1">
                <a:solidFill>
                  <a:schemeClr val="tx1"/>
                </a:solidFill>
                <a:highlight>
                  <a:srgbClr val="FFFFFF"/>
                </a:highlight>
                <a:ea typeface="Calibri"/>
                <a:cs typeface="Calibri"/>
              </a:rPr>
              <a:t>AtkinsRéalis</a:t>
            </a:r>
            <a:r>
              <a:rPr lang="en-US" sz="1500">
                <a:solidFill>
                  <a:schemeClr val="tx1"/>
                </a:solidFill>
                <a:highlight>
                  <a:srgbClr val="FFFFFF"/>
                </a:highlight>
                <a:ea typeface="Calibri"/>
                <a:cs typeface="Calibri"/>
              </a:rPr>
              <a:t>, Mead &amp; Hunt, Kimley Horn, RS&amp;H and Parsons</a:t>
            </a:r>
            <a:endParaRPr lang="en-US" sz="1500">
              <a:solidFill>
                <a:schemeClr val="tx1"/>
              </a:solidFill>
              <a:ea typeface="Calibri"/>
              <a:cs typeface="Calibri"/>
            </a:endParaRPr>
          </a:p>
        </p:txBody>
      </p:sp>
      <p:pic>
        <p:nvPicPr>
          <p:cNvPr id="13" name="Picture Placeholder 12">
            <a:extLst>
              <a:ext uri="{FF2B5EF4-FFF2-40B4-BE49-F238E27FC236}">
                <a16:creationId xmlns:a16="http://schemas.microsoft.com/office/drawing/2014/main" id="{0C9479D3-9F16-7F75-5D9E-0674B22A38B5}"/>
              </a:ext>
              <a:ext uri="{C183D7F6-B498-43B3-948B-1728B52AA6E4}">
                <adec:decorative xmlns:adec="http://schemas.microsoft.com/office/drawing/2017/decorative" val="1"/>
              </a:ext>
            </a:extLst>
          </p:cNvPr>
          <p:cNvPicPr>
            <a:picLocks noGrp="1" noChangeAspect="1"/>
          </p:cNvPicPr>
          <p:nvPr>
            <p:ph type="pic" sz="quarter" idx="15"/>
          </p:nvPr>
        </p:nvPicPr>
        <p:blipFill>
          <a:blip r:embed="rId3" cstate="email">
            <a:extLst>
              <a:ext uri="{28A0092B-C50C-407E-A947-70E740481C1C}">
                <a14:useLocalDpi xmlns:a14="http://schemas.microsoft.com/office/drawing/2010/main"/>
              </a:ext>
            </a:extLst>
          </a:blip>
          <a:srcRect/>
          <a:stretch>
            <a:fillRect/>
          </a:stretch>
        </p:blipFill>
        <p:spPr>
          <a:xfrm>
            <a:off x="8656540" y="-121920"/>
            <a:ext cx="3763223" cy="7044088"/>
          </a:xfrm>
        </p:spPr>
      </p:pic>
      <p:pic>
        <p:nvPicPr>
          <p:cNvPr id="6" name="Picture 2" descr="QR code linking to the Do Business at DEN calendar https://www.eventbrite.com/e/taking-flight-at-den-tickets-1975151824276?aff=oddtdtcreator.">
            <a:extLst>
              <a:ext uri="{FF2B5EF4-FFF2-40B4-BE49-F238E27FC236}">
                <a16:creationId xmlns:a16="http://schemas.microsoft.com/office/drawing/2014/main" id="{13FDAEC3-1D67-F6C7-12DD-FCA23A186FCE}"/>
              </a:ext>
              <a:ext uri="{C183D7F6-B498-43B3-948B-1728B52AA6E4}">
                <adec:decorative xmlns:adec="http://schemas.microsoft.com/office/drawing/2017/decorative" val="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916041" y="5810250"/>
            <a:ext cx="912959" cy="9129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84361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descr="Bi-monthly virtual outreach events on the third Thursday at 1 p.m. will guide ACDBEs on doing business at DEN. - These events will be in January, March, May, July, September, November. &#10;&#10;This Navigating the ACDBE program series was created to help retail, food, and beverage businesses learn how to prepare responses to those RFPs and take their business from Storefront to Concessions&#10;&#10;&#10;&#10;Please go to https://www.eventbrite.com/o/doing-business-at-den-8527643555 for the event calendar. ">
            <a:extLst>
              <a:ext uri="{FF2B5EF4-FFF2-40B4-BE49-F238E27FC236}">
                <a16:creationId xmlns:a16="http://schemas.microsoft.com/office/drawing/2014/main" id="{B455FA32-8B70-D63B-1F0E-56E58B93AFC1}"/>
              </a:ext>
              <a:ext uri="{C183D7F6-B498-43B3-948B-1728B52AA6E4}">
                <adec:decorative xmlns:adec="http://schemas.microsoft.com/office/drawing/2017/decorative" val="0"/>
              </a:ext>
            </a:extLst>
          </p:cNvPr>
          <p:cNvSpPr>
            <a:spLocks noGrp="1"/>
          </p:cNvSpPr>
          <p:nvPr>
            <p:ph type="title" idx="4294967295"/>
          </p:nvPr>
        </p:nvSpPr>
        <p:spPr>
          <a:xfrm>
            <a:off x="770439" y="496503"/>
            <a:ext cx="869440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kumimoji="0" lang="en-US" sz="2800" b="0" i="0" u="none" strike="noStrike" kern="1200" cap="none" spc="0" normalizeH="0" baseline="0" noProof="0">
                <a:ln>
                  <a:noFill/>
                </a:ln>
                <a:solidFill>
                  <a:srgbClr val="440099"/>
                </a:solidFill>
                <a:effectLst/>
                <a:uLnTx/>
                <a:uFillTx/>
                <a:latin typeface="+mn-lt"/>
                <a:ea typeface="+mn-ea"/>
                <a:cs typeface="+mn-cs"/>
              </a:rPr>
              <a:t>Navigating the ACDBE</a:t>
            </a:r>
            <a:r>
              <a:rPr lang="en-US" sz="2800">
                <a:solidFill>
                  <a:srgbClr val="440099"/>
                </a:solidFill>
                <a:latin typeface="+mn-lt"/>
                <a:ea typeface="+mn-ea"/>
                <a:cs typeface="+mn-cs"/>
              </a:rPr>
              <a:t> Series: Pathways to Concessions</a:t>
            </a:r>
            <a:endParaRPr kumimoji="0" lang="en-US" sz="2800" b="0" i="0" u="none" strike="noStrike" kern="1200" cap="none" spc="0" normalizeH="0" baseline="0" noProof="0">
              <a:ln>
                <a:noFill/>
              </a:ln>
              <a:solidFill>
                <a:srgbClr val="440099"/>
              </a:solidFill>
              <a:effectLst/>
              <a:uLnTx/>
              <a:uFillTx/>
              <a:latin typeface="+mn-lt"/>
              <a:ea typeface="+mn-ea"/>
              <a:cs typeface="+mn-cs"/>
            </a:endParaRPr>
          </a:p>
        </p:txBody>
      </p:sp>
      <p:sp>
        <p:nvSpPr>
          <p:cNvPr id="16" name="Text Placeholder 15">
            <a:extLst>
              <a:ext uri="{FF2B5EF4-FFF2-40B4-BE49-F238E27FC236}">
                <a16:creationId xmlns:a16="http://schemas.microsoft.com/office/drawing/2014/main" id="{CACCCF1E-087D-6539-AC02-491F1A38527B}"/>
              </a:ext>
              <a:ext uri="{C183D7F6-B498-43B3-948B-1728B52AA6E4}">
                <adec:decorative xmlns:adec="http://schemas.microsoft.com/office/drawing/2017/decorative" val="1"/>
              </a:ext>
            </a:extLst>
          </p:cNvPr>
          <p:cNvSpPr>
            <a:spLocks noGrp="1"/>
          </p:cNvSpPr>
          <p:nvPr>
            <p:ph type="body" sz="quarter" idx="12"/>
          </p:nvPr>
        </p:nvSpPr>
        <p:spPr/>
        <p:txBody>
          <a:bodyPr/>
          <a:lstStyle/>
          <a:p>
            <a:endParaRPr lang="en-US"/>
          </a:p>
        </p:txBody>
      </p:sp>
      <p:sp>
        <p:nvSpPr>
          <p:cNvPr id="15" name="Text Placeholder 14">
            <a:extLst>
              <a:ext uri="{FF2B5EF4-FFF2-40B4-BE49-F238E27FC236}">
                <a16:creationId xmlns:a16="http://schemas.microsoft.com/office/drawing/2014/main" id="{EADB3E80-1530-FEAD-BC51-A70A937D47F8}"/>
              </a:ext>
              <a:ext uri="{C183D7F6-B498-43B3-948B-1728B52AA6E4}">
                <adec:decorative xmlns:adec="http://schemas.microsoft.com/office/drawing/2017/decorative" val="1"/>
              </a:ext>
            </a:extLst>
          </p:cNvPr>
          <p:cNvSpPr>
            <a:spLocks noGrp="1"/>
          </p:cNvSpPr>
          <p:nvPr>
            <p:ph type="body" sz="quarter" idx="13"/>
          </p:nvPr>
        </p:nvSpPr>
        <p:spPr>
          <a:xfrm>
            <a:off x="769938" y="1555750"/>
            <a:ext cx="8260940" cy="578318"/>
          </a:xfrm>
        </p:spPr>
        <p:txBody>
          <a:bodyPr lIns="91440" tIns="45720" rIns="91440" bIns="45720" anchor="t"/>
          <a:lstStyle/>
          <a:p>
            <a:r>
              <a:rPr lang="en-US" b="1"/>
              <a:t>This virtual outreach event held every other month on the third Thursday at 1 p.m. will guide ACDBEs on doing business at DEN.</a:t>
            </a:r>
          </a:p>
        </p:txBody>
      </p:sp>
      <p:sp>
        <p:nvSpPr>
          <p:cNvPr id="9" name="Text Placeholder 8">
            <a:extLst>
              <a:ext uri="{FF2B5EF4-FFF2-40B4-BE49-F238E27FC236}">
                <a16:creationId xmlns:a16="http://schemas.microsoft.com/office/drawing/2014/main" id="{33E76785-83AF-EDB4-F909-25B4EBEBB89B}"/>
              </a:ext>
              <a:ext uri="{C183D7F6-B498-43B3-948B-1728B52AA6E4}">
                <adec:decorative xmlns:adec="http://schemas.microsoft.com/office/drawing/2017/decorative" val="1"/>
              </a:ext>
            </a:extLst>
          </p:cNvPr>
          <p:cNvSpPr>
            <a:spLocks noGrp="1"/>
          </p:cNvSpPr>
          <p:nvPr>
            <p:ph type="body" sz="quarter" idx="14"/>
          </p:nvPr>
        </p:nvSpPr>
        <p:spPr>
          <a:xfrm>
            <a:off x="769938" y="2389938"/>
            <a:ext cx="8260940" cy="3930649"/>
          </a:xfrm>
        </p:spPr>
        <p:txBody>
          <a:bodyPr lIns="91440" tIns="45720" rIns="91440" bIns="45720" anchor="t"/>
          <a:lstStyle/>
          <a:p>
            <a:pPr>
              <a:spcBef>
                <a:spcPts val="0"/>
              </a:spcBef>
              <a:spcAft>
                <a:spcPts val="600"/>
              </a:spcAft>
              <a:buClr>
                <a:srgbClr val="DC582A"/>
              </a:buClr>
              <a:tabLst>
                <a:tab pos="457200" algn="l"/>
              </a:tabLst>
            </a:pPr>
            <a:r>
              <a:rPr lang="en-US" sz="2000" b="1">
                <a:solidFill>
                  <a:schemeClr val="bg1">
                    <a:lumMod val="85000"/>
                  </a:schemeClr>
                </a:solidFill>
                <a:cs typeface="Calibri"/>
              </a:rPr>
              <a:t>January 22 – ACDBE 101</a:t>
            </a:r>
          </a:p>
          <a:p>
            <a:pPr>
              <a:spcBef>
                <a:spcPts val="0"/>
              </a:spcBef>
              <a:spcAft>
                <a:spcPts val="600"/>
              </a:spcAft>
              <a:buClr>
                <a:srgbClr val="DC582A"/>
              </a:buClr>
              <a:tabLst>
                <a:tab pos="457200" algn="l"/>
              </a:tabLst>
            </a:pPr>
            <a:r>
              <a:rPr lang="en-US" sz="2000" b="1">
                <a:solidFill>
                  <a:schemeClr val="bg1">
                    <a:lumMod val="85000"/>
                  </a:schemeClr>
                </a:solidFill>
                <a:cs typeface="Calibri"/>
              </a:rPr>
              <a:t>March 19 – AI &amp; Digital Tools </a:t>
            </a:r>
          </a:p>
          <a:p>
            <a:pPr>
              <a:spcBef>
                <a:spcPts val="0"/>
              </a:spcBef>
              <a:spcAft>
                <a:spcPts val="600"/>
              </a:spcAft>
              <a:buClr>
                <a:srgbClr val="DC582A"/>
              </a:buClr>
              <a:tabLst>
                <a:tab pos="457200" algn="l"/>
              </a:tabLst>
            </a:pPr>
            <a:r>
              <a:rPr lang="en-US" sz="2000" b="1">
                <a:solidFill>
                  <a:schemeClr val="bg1">
                    <a:lumMod val="85000"/>
                  </a:schemeClr>
                </a:solidFill>
                <a:cs typeface="Calibri"/>
              </a:rPr>
              <a:t>May 21 – RFP Requirements </a:t>
            </a:r>
          </a:p>
          <a:p>
            <a:pPr>
              <a:spcBef>
                <a:spcPts val="0"/>
              </a:spcBef>
              <a:spcAft>
                <a:spcPts val="600"/>
              </a:spcAft>
              <a:buClr>
                <a:srgbClr val="DC582A"/>
              </a:buClr>
              <a:tabLst>
                <a:tab pos="457200" algn="l"/>
              </a:tabLst>
            </a:pPr>
            <a:r>
              <a:rPr lang="en-US" sz="2000" b="1">
                <a:solidFill>
                  <a:schemeClr val="tx1"/>
                </a:solidFill>
                <a:cs typeface="Calibri"/>
              </a:rPr>
              <a:t>July 21 – Post Award Compliance </a:t>
            </a:r>
          </a:p>
          <a:p>
            <a:pPr>
              <a:spcBef>
                <a:spcPts val="0"/>
              </a:spcBef>
              <a:spcAft>
                <a:spcPts val="600"/>
              </a:spcAft>
              <a:buClr>
                <a:srgbClr val="DC582A"/>
              </a:buClr>
              <a:tabLst>
                <a:tab pos="457200" algn="l"/>
              </a:tabLst>
            </a:pPr>
            <a:r>
              <a:rPr lang="en-US" sz="2000" b="1">
                <a:solidFill>
                  <a:schemeClr val="tx1"/>
                </a:solidFill>
                <a:cs typeface="Calibri"/>
              </a:rPr>
              <a:t>September 17 – Goods &amp; Services Participation and Good Faith Efforts</a:t>
            </a:r>
          </a:p>
          <a:p>
            <a:pPr>
              <a:spcBef>
                <a:spcPts val="0"/>
              </a:spcBef>
              <a:spcAft>
                <a:spcPts val="600"/>
              </a:spcAft>
              <a:buClr>
                <a:srgbClr val="DC582A"/>
              </a:buClr>
              <a:tabLst>
                <a:tab pos="457200" algn="l"/>
              </a:tabLst>
            </a:pPr>
            <a:r>
              <a:rPr lang="en-US" sz="2000" b="1">
                <a:solidFill>
                  <a:schemeClr val="tx1"/>
                </a:solidFill>
                <a:cs typeface="Calibri"/>
              </a:rPr>
              <a:t>November 19 – CUF Site Visits &amp; Desk Audits </a:t>
            </a:r>
          </a:p>
        </p:txBody>
      </p:sp>
      <p:pic>
        <p:nvPicPr>
          <p:cNvPr id="7" name="Picture Placeholder 6">
            <a:extLst>
              <a:ext uri="{FF2B5EF4-FFF2-40B4-BE49-F238E27FC236}">
                <a16:creationId xmlns:a16="http://schemas.microsoft.com/office/drawing/2014/main" id="{4EF29B50-42F0-D925-EBC9-A302F95B9C4C}"/>
              </a:ext>
              <a:ext uri="{C183D7F6-B498-43B3-948B-1728B52AA6E4}">
                <adec:decorative xmlns:adec="http://schemas.microsoft.com/office/drawing/2017/decorative" val="1"/>
              </a:ext>
            </a:extLst>
          </p:cNvPr>
          <p:cNvPicPr>
            <a:picLocks noGrp="1" noChangeAspect="1"/>
          </p:cNvPicPr>
          <p:nvPr>
            <p:ph type="pic" sz="quarter" idx="15"/>
          </p:nvPr>
        </p:nvPicPr>
        <p:blipFill>
          <a:blip r:embed="rId3" cstate="email">
            <a:extLst>
              <a:ext uri="{28A0092B-C50C-407E-A947-70E740481C1C}">
                <a14:useLocalDpi xmlns:a14="http://schemas.microsoft.com/office/drawing/2010/main"/>
              </a:ext>
            </a:extLst>
          </a:blip>
          <a:srcRect/>
          <a:stretch>
            <a:fillRect/>
          </a:stretch>
        </p:blipFill>
        <p:spPr>
          <a:xfrm>
            <a:off x="8647113" y="-64168"/>
            <a:ext cx="3712360" cy="7196488"/>
          </a:xfrm>
        </p:spPr>
      </p:pic>
      <p:pic>
        <p:nvPicPr>
          <p:cNvPr id="4" name="Picture 2" descr="QR code linking to the Do Business at DEN calendar https://www.eventbrite.com/e/taking-flight-at-den-tickets-1975151824276?aff=oddtdtcreator.">
            <a:extLst>
              <a:ext uri="{FF2B5EF4-FFF2-40B4-BE49-F238E27FC236}">
                <a16:creationId xmlns:a16="http://schemas.microsoft.com/office/drawing/2014/main" id="{D80E79C0-C108-DACF-B442-CB075FCBA0D2}"/>
              </a:ext>
              <a:ext uri="{C183D7F6-B498-43B3-948B-1728B52AA6E4}">
                <adec:decorative xmlns:adec="http://schemas.microsoft.com/office/drawing/2017/decorative" val="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916041" y="5810250"/>
            <a:ext cx="912959" cy="9129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36233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914FC-BF26-5CE2-C6E1-117745BFC578}"/>
            </a:ext>
          </a:extLst>
        </p:cNvPr>
        <p:cNvGrpSpPr/>
        <p:nvPr/>
      </p:nvGrpSpPr>
      <p:grpSpPr>
        <a:xfrm>
          <a:off x="0" y="0"/>
          <a:ext cx="0" cy="0"/>
          <a:chOff x="0" y="0"/>
          <a:chExt cx="0" cy="0"/>
        </a:xfrm>
      </p:grpSpPr>
      <p:sp>
        <p:nvSpPr>
          <p:cNvPr id="5" name="Text Placeholder 4" descr="Bi-monthly virtual outreach events on the third Thursday at 1 p.m. will guide ACDBEs on doing business at DEN. - These events will be in January, March, May, July, September, November. &#10;&#10;This Navigating the ACDBE program series was created to help retail, food, and beverage businesses learn how to prepare responses to those RFPs and take their business from Storefront to Concessions&#10;&#10;&#10;&#10;Please go to https://www.eventbrite.com/o/doing-business-at-den-8527643555 for the event calendar. ">
            <a:extLst>
              <a:ext uri="{FF2B5EF4-FFF2-40B4-BE49-F238E27FC236}">
                <a16:creationId xmlns:a16="http://schemas.microsoft.com/office/drawing/2014/main" id="{CE71E0AF-CFAF-FBCA-4C46-1B2B8A079381}"/>
              </a:ext>
              <a:ext uri="{C183D7F6-B498-43B3-948B-1728B52AA6E4}">
                <adec:decorative xmlns:adec="http://schemas.microsoft.com/office/drawing/2017/decorative" val="0"/>
              </a:ext>
            </a:extLst>
          </p:cNvPr>
          <p:cNvSpPr>
            <a:spLocks noGrp="1"/>
          </p:cNvSpPr>
          <p:nvPr>
            <p:ph type="title" idx="4294967295"/>
          </p:nvPr>
        </p:nvSpPr>
        <p:spPr>
          <a:xfrm>
            <a:off x="770439" y="496503"/>
            <a:ext cx="869440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kumimoji="0" lang="en-US" sz="2800" b="0" i="0" u="none" strike="noStrike" kern="1200" cap="none" spc="0" normalizeH="0" baseline="0" noProof="0">
                <a:ln>
                  <a:noFill/>
                </a:ln>
                <a:solidFill>
                  <a:srgbClr val="440099"/>
                </a:solidFill>
                <a:effectLst/>
                <a:uLnTx/>
                <a:uFillTx/>
                <a:latin typeface="+mn-lt"/>
                <a:ea typeface="+mn-ea"/>
                <a:cs typeface="+mn-cs"/>
              </a:rPr>
              <a:t>Small Business Certification Workshops</a:t>
            </a:r>
          </a:p>
        </p:txBody>
      </p:sp>
      <p:sp>
        <p:nvSpPr>
          <p:cNvPr id="16" name="Text Placeholder 15">
            <a:extLst>
              <a:ext uri="{FF2B5EF4-FFF2-40B4-BE49-F238E27FC236}">
                <a16:creationId xmlns:a16="http://schemas.microsoft.com/office/drawing/2014/main" id="{0913D522-F66F-DB4F-79CA-8A07CE7A7AB0}"/>
              </a:ext>
              <a:ext uri="{C183D7F6-B498-43B3-948B-1728B52AA6E4}">
                <adec:decorative xmlns:adec="http://schemas.microsoft.com/office/drawing/2017/decorative" val="1"/>
              </a:ext>
            </a:extLst>
          </p:cNvPr>
          <p:cNvSpPr>
            <a:spLocks noGrp="1"/>
          </p:cNvSpPr>
          <p:nvPr>
            <p:ph type="body" sz="quarter" idx="12"/>
          </p:nvPr>
        </p:nvSpPr>
        <p:spPr/>
        <p:txBody>
          <a:bodyPr/>
          <a:lstStyle/>
          <a:p>
            <a:endParaRPr lang="en-US"/>
          </a:p>
        </p:txBody>
      </p:sp>
      <p:sp>
        <p:nvSpPr>
          <p:cNvPr id="9" name="Text Placeholder 8">
            <a:extLst>
              <a:ext uri="{FF2B5EF4-FFF2-40B4-BE49-F238E27FC236}">
                <a16:creationId xmlns:a16="http://schemas.microsoft.com/office/drawing/2014/main" id="{C4EA999A-9D4B-AB13-B024-A256FA7A9C6B}"/>
              </a:ext>
              <a:ext uri="{C183D7F6-B498-43B3-948B-1728B52AA6E4}">
                <adec:decorative xmlns:adec="http://schemas.microsoft.com/office/drawing/2017/decorative" val="1"/>
              </a:ext>
            </a:extLst>
          </p:cNvPr>
          <p:cNvSpPr>
            <a:spLocks noGrp="1"/>
          </p:cNvSpPr>
          <p:nvPr>
            <p:ph type="body" sz="quarter" idx="14"/>
          </p:nvPr>
        </p:nvSpPr>
        <p:spPr>
          <a:xfrm>
            <a:off x="769938" y="2614997"/>
            <a:ext cx="8260940" cy="3930649"/>
          </a:xfrm>
        </p:spPr>
        <p:txBody>
          <a:bodyPr lIns="91440" tIns="45720" rIns="91440" bIns="45720" anchor="t"/>
          <a:lstStyle/>
          <a:p>
            <a:pPr>
              <a:spcBef>
                <a:spcPts val="0"/>
              </a:spcBef>
              <a:spcAft>
                <a:spcPts val="600"/>
              </a:spcAft>
              <a:buClr>
                <a:srgbClr val="DC582A"/>
              </a:buClr>
              <a:tabLst>
                <a:tab pos="457200" algn="l"/>
              </a:tabLst>
            </a:pPr>
            <a:r>
              <a:rPr lang="en-US" sz="2000" b="1">
                <a:solidFill>
                  <a:schemeClr val="bg1">
                    <a:lumMod val="85000"/>
                  </a:schemeClr>
                </a:solidFill>
                <a:cs typeface="Calibri"/>
              </a:rPr>
              <a:t>February 26</a:t>
            </a:r>
          </a:p>
          <a:p>
            <a:pPr>
              <a:spcBef>
                <a:spcPts val="0"/>
              </a:spcBef>
              <a:spcAft>
                <a:spcPts val="600"/>
              </a:spcAft>
              <a:buClr>
                <a:srgbClr val="DC582A"/>
              </a:buClr>
              <a:tabLst>
                <a:tab pos="457200" algn="l"/>
              </a:tabLst>
            </a:pPr>
            <a:r>
              <a:rPr lang="en-US" sz="2000" b="1">
                <a:solidFill>
                  <a:schemeClr val="bg1">
                    <a:lumMod val="85000"/>
                  </a:schemeClr>
                </a:solidFill>
                <a:cs typeface="Calibri"/>
              </a:rPr>
              <a:t>April 14</a:t>
            </a:r>
          </a:p>
          <a:p>
            <a:pPr>
              <a:spcBef>
                <a:spcPts val="0"/>
              </a:spcBef>
              <a:spcAft>
                <a:spcPts val="600"/>
              </a:spcAft>
              <a:buClr>
                <a:srgbClr val="DC582A"/>
              </a:buClr>
              <a:tabLst>
                <a:tab pos="457200" algn="l"/>
              </a:tabLst>
            </a:pPr>
            <a:r>
              <a:rPr lang="en-US" sz="2000" b="1">
                <a:solidFill>
                  <a:schemeClr val="tx1"/>
                </a:solidFill>
                <a:cs typeface="Calibri"/>
              </a:rPr>
              <a:t>June 24</a:t>
            </a:r>
          </a:p>
          <a:p>
            <a:pPr>
              <a:spcBef>
                <a:spcPts val="0"/>
              </a:spcBef>
              <a:spcAft>
                <a:spcPts val="600"/>
              </a:spcAft>
              <a:buClr>
                <a:srgbClr val="DC582A"/>
              </a:buClr>
              <a:tabLst>
                <a:tab pos="457200" algn="l"/>
              </a:tabLst>
            </a:pPr>
            <a:r>
              <a:rPr lang="en-US" sz="2000" b="1">
                <a:solidFill>
                  <a:schemeClr val="tx1"/>
                </a:solidFill>
                <a:cs typeface="Calibri"/>
              </a:rPr>
              <a:t>August 6</a:t>
            </a:r>
          </a:p>
          <a:p>
            <a:pPr>
              <a:spcBef>
                <a:spcPts val="0"/>
              </a:spcBef>
              <a:spcAft>
                <a:spcPts val="600"/>
              </a:spcAft>
              <a:buClr>
                <a:srgbClr val="DC582A"/>
              </a:buClr>
              <a:tabLst>
                <a:tab pos="457200" algn="l"/>
              </a:tabLst>
            </a:pPr>
            <a:r>
              <a:rPr lang="en-US" sz="2000" b="1">
                <a:solidFill>
                  <a:schemeClr val="tx1"/>
                </a:solidFill>
                <a:cs typeface="Calibri"/>
              </a:rPr>
              <a:t>October 20 </a:t>
            </a:r>
          </a:p>
          <a:p>
            <a:pPr>
              <a:spcBef>
                <a:spcPts val="0"/>
              </a:spcBef>
              <a:spcAft>
                <a:spcPts val="600"/>
              </a:spcAft>
              <a:buClr>
                <a:srgbClr val="DC582A"/>
              </a:buClr>
              <a:tabLst>
                <a:tab pos="457200" algn="l"/>
              </a:tabLst>
            </a:pPr>
            <a:r>
              <a:rPr lang="en-US" sz="2000" b="1">
                <a:solidFill>
                  <a:schemeClr val="tx1"/>
                </a:solidFill>
                <a:cs typeface="Calibri"/>
              </a:rPr>
              <a:t>December TBD</a:t>
            </a:r>
          </a:p>
        </p:txBody>
      </p:sp>
      <p:pic>
        <p:nvPicPr>
          <p:cNvPr id="11" name="Picture Placeholder 10" descr="City skyline with tall office buildings">
            <a:extLst>
              <a:ext uri="{FF2B5EF4-FFF2-40B4-BE49-F238E27FC236}">
                <a16:creationId xmlns:a16="http://schemas.microsoft.com/office/drawing/2014/main" id="{DA708701-D495-ADC7-B9DA-A3E3780E789E}"/>
              </a:ext>
            </a:extLst>
          </p:cNvPr>
          <p:cNvPicPr>
            <a:picLocks noGrp="1" noChangeAspect="1"/>
          </p:cNvPicPr>
          <p:nvPr>
            <p:ph type="pic" sz="quarter" idx="15"/>
          </p:nvPr>
        </p:nvPicPr>
        <p:blipFill>
          <a:blip r:embed="rId3"/>
          <a:srcRect l="37196" r="37196"/>
          <a:stretch>
            <a:fillRect/>
          </a:stretch>
        </p:blipFill>
        <p:spPr>
          <a:xfrm>
            <a:off x="8744649" y="-1"/>
            <a:ext cx="3544887" cy="7015655"/>
          </a:xfrm>
        </p:spPr>
      </p:pic>
      <p:pic>
        <p:nvPicPr>
          <p:cNvPr id="12" name="Picture 11" descr="QR Code to register https://startupspace.app/normal-events?event_type=upcoming&amp;search_group=468&amp;search_radius=50">
            <a:extLst>
              <a:ext uri="{FF2B5EF4-FFF2-40B4-BE49-F238E27FC236}">
                <a16:creationId xmlns:a16="http://schemas.microsoft.com/office/drawing/2014/main" id="{45C7CF79-5B3A-84B4-B494-7BB217567543}"/>
              </a:ext>
            </a:extLst>
          </p:cNvPr>
          <p:cNvPicPr>
            <a:picLocks noChangeAspect="1"/>
          </p:cNvPicPr>
          <p:nvPr/>
        </p:nvPicPr>
        <p:blipFill>
          <a:blip r:embed="rId4"/>
          <a:stretch>
            <a:fillRect/>
          </a:stretch>
        </p:blipFill>
        <p:spPr>
          <a:xfrm>
            <a:off x="10183516" y="4741879"/>
            <a:ext cx="1835550" cy="1835550"/>
          </a:xfrm>
          <a:prstGeom prst="rect">
            <a:avLst/>
          </a:prstGeom>
        </p:spPr>
      </p:pic>
      <p:sp>
        <p:nvSpPr>
          <p:cNvPr id="13" name="Text Placeholder 14">
            <a:extLst>
              <a:ext uri="{FF2B5EF4-FFF2-40B4-BE49-F238E27FC236}">
                <a16:creationId xmlns:a16="http://schemas.microsoft.com/office/drawing/2014/main" id="{B47EE379-9DAD-00F8-B63B-7BF58929EB04}"/>
              </a:ext>
              <a:ext uri="{C183D7F6-B498-43B3-948B-1728B52AA6E4}">
                <adec:decorative xmlns:adec="http://schemas.microsoft.com/office/drawing/2017/decorative" val="1"/>
              </a:ext>
            </a:extLst>
          </p:cNvPr>
          <p:cNvSpPr txBox="1">
            <a:spLocks/>
          </p:cNvSpPr>
          <p:nvPr/>
        </p:nvSpPr>
        <p:spPr>
          <a:xfrm>
            <a:off x="769938" y="1555750"/>
            <a:ext cx="7877175" cy="578318"/>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a:t>A bi‑monthly in‑person event in partnership with ACDBE and DSBO</a:t>
            </a:r>
          </a:p>
        </p:txBody>
      </p:sp>
    </p:spTree>
    <p:extLst>
      <p:ext uri="{BB962C8B-B14F-4D97-AF65-F5344CB8AC3E}">
        <p14:creationId xmlns:p14="http://schemas.microsoft.com/office/powerpoint/2010/main" val="27483302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17&quot;/&gt;&lt;lineCharCount val=&quot;7&quot;/&gt;&lt;lineCharCount val=&quot;13&quot;/&gt;&lt;lineCharCount val=&quot;11&quot;/&gt;&lt;/TableIndex&gt;&lt;/ShapeTextInfo&gt;"/>
</p:tagLst>
</file>

<file path=ppt/tags/tag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17&quot;/&gt;&lt;lineCharCount val=&quot;7&quot;/&gt;&lt;lineCharCount val=&quot;13&quot;/&gt;&lt;lineCharCount val=&quot;11&quot;/&gt;&lt;/TableIndex&gt;&lt;/ShapeTextInfo&gt;"/>
</p:tagLst>
</file>

<file path=ppt/tags/tag1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17&quot;/&gt;&lt;lineCharCount val=&quot;7&quot;/&gt;&lt;lineCharCount val=&quot;13&quot;/&gt;&lt;lineCharCount val=&quot;11&quot;/&gt;&lt;/TableIndex&gt;&lt;/ShapeTextInfo&gt;"/>
</p:tagLst>
</file>

<file path=ppt/tags/tag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17&quot;/&gt;&lt;lineCharCount val=&quot;7&quot;/&gt;&lt;lineCharCount val=&quot;13&quot;/&gt;&lt;lineCharCount val=&quot;11&quot;/&gt;&lt;/TableIndex&gt;&lt;/ShapeTextInfo&gt;"/>
</p:tagLst>
</file>

<file path=ppt/tags/tag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17&quot;/&gt;&lt;lineCharCount val=&quot;7&quot;/&gt;&lt;lineCharCount val=&quot;13&quot;/&gt;&lt;lineCharCount val=&quot;11&quot;/&gt;&lt;/TableIndex&gt;&lt;/ShapeTextInfo&gt;"/>
</p:tagLst>
</file>

<file path=ppt/tags/tag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17&quot;/&gt;&lt;lineCharCount val=&quot;7&quot;/&gt;&lt;lineCharCount val=&quot;13&quot;/&gt;&lt;lineCharCount val=&quot;11&quot;/&gt;&lt;/TableIndex&gt;&lt;/ShapeTextInfo&gt;"/>
</p:tagLst>
</file>

<file path=ppt/tags/tag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17&quot;/&gt;&lt;lineCharCount val=&quot;7&quot;/&gt;&lt;lineCharCount val=&quot;13&quot;/&gt;&lt;lineCharCount val=&quot;11&quot;/&gt;&lt;/TableIndex&gt;&lt;/ShapeTextInfo&gt;"/>
</p:tagLst>
</file>

<file path=ppt/tags/tag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17&quot;/&gt;&lt;lineCharCount val=&quot;7&quot;/&gt;&lt;lineCharCount val=&quot;13&quot;/&gt;&lt;lineCharCount val=&quot;11&quot;/&gt;&lt;/TableIndex&gt;&lt;/ShapeTextInfo&gt;"/>
</p:tagLst>
</file>

<file path=ppt/tags/tag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17&quot;/&gt;&lt;lineCharCount val=&quot;7&quot;/&gt;&lt;lineCharCount val=&quot;13&quot;/&gt;&lt;lineCharCount val=&quot;11&quot;/&gt;&lt;/TableIndex&gt;&lt;/ShapeTextInfo&gt;"/>
</p:tagLst>
</file>

<file path=ppt/tags/tag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heme/theme1.xml><?xml version="1.0" encoding="utf-8"?>
<a:theme xmlns:a="http://schemas.openxmlformats.org/drawingml/2006/main" name="Title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itle 3">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ntent 2 - ORAN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ntent 4 - ORANGE - Image WHITE logo">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Title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Office Theme">
  <a:themeElements>
    <a:clrScheme name="City of Denver Colors">
      <a:dk1>
        <a:srgbClr val="58595B"/>
      </a:dk1>
      <a:lt1>
        <a:sysClr val="window" lastClr="FFFFFF"/>
      </a:lt1>
      <a:dk2>
        <a:srgbClr val="002D56"/>
      </a:dk2>
      <a:lt2>
        <a:srgbClr val="DCDDE1"/>
      </a:lt2>
      <a:accent1>
        <a:srgbClr val="0096D6"/>
      </a:accent1>
      <a:accent2>
        <a:srgbClr val="D9531E"/>
      </a:accent2>
      <a:accent3>
        <a:srgbClr val="6D8D24"/>
      </a:accent3>
      <a:accent4>
        <a:srgbClr val="F3B913"/>
      </a:accent4>
      <a:accent5>
        <a:srgbClr val="F3901D"/>
      </a:accent5>
      <a:accent6>
        <a:srgbClr val="9FA646"/>
      </a:accent6>
      <a:hlink>
        <a:srgbClr val="005596"/>
      </a:hlink>
      <a:folHlink>
        <a:srgbClr val="400F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CD PowerPoint Template Widescreen.pptx  -  Read-Only" id="{91BD9A01-A9C1-40F2-BBD0-9BE60353A035}" vid="{838761E2-6594-4CD3-A0E5-66C20681BB95}"/>
    </a:ext>
  </a:extLst>
</a:theme>
</file>

<file path=ppt/theme/theme8.xml><?xml version="1.0" encoding="utf-8"?>
<a:theme xmlns:a="http://schemas.openxmlformats.org/drawingml/2006/main" name="United Digital: Core Light">
  <a:themeElements>
    <a:clrScheme name="United">
      <a:dk1>
        <a:srgbClr val="1414DC"/>
      </a:dk1>
      <a:lt1>
        <a:srgbClr val="FFFFFF"/>
      </a:lt1>
      <a:dk2>
        <a:srgbClr val="000000"/>
      </a:dk2>
      <a:lt2>
        <a:srgbClr val="ABA6A2"/>
      </a:lt2>
      <a:accent1>
        <a:srgbClr val="051265"/>
      </a:accent1>
      <a:accent2>
        <a:srgbClr val="2B6DF5"/>
      </a:accent2>
      <a:accent3>
        <a:srgbClr val="A2E8FD"/>
      </a:accent3>
      <a:accent4>
        <a:srgbClr val="7365EB"/>
      </a:accent4>
      <a:accent5>
        <a:srgbClr val="177737"/>
      </a:accent5>
      <a:accent6>
        <a:srgbClr val="5BD28B"/>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t"/>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ateSent xmlns="bbc1b1f8-0e71-4cbd-b262-3052aba238a9" xsi:nil="true"/>
    <lcf76f155ced4ddcb4097134ff3c332f xmlns="bbc1b1f8-0e71-4cbd-b262-3052aba238a9">
      <Terms xmlns="http://schemas.microsoft.com/office/infopath/2007/PartnerControls"/>
    </lcf76f155ced4ddcb4097134ff3c332f>
    <TaxCatchAll xmlns="87e7f7ab-f283-48b6-a11d-5b6afdf240ea" xsi:nil="true"/>
    <BusinessDirectoryType xmlns="bbc1b1f8-0e71-4cbd-b262-3052aba238a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0B4CBFD58AEB54B9523C229AC8968F6" ma:contentTypeVersion="21" ma:contentTypeDescription="Create a new document." ma:contentTypeScope="" ma:versionID="d99ad74c3b8a25c61b8ddba13f7aab43">
  <xsd:schema xmlns:xsd="http://www.w3.org/2001/XMLSchema" xmlns:xs="http://www.w3.org/2001/XMLSchema" xmlns:p="http://schemas.microsoft.com/office/2006/metadata/properties" xmlns:ns2="bbc1b1f8-0e71-4cbd-b262-3052aba238a9" xmlns:ns3="fd3bd635-9bff-483f-aa30-f8bfae0bbf17" xmlns:ns4="87e7f7ab-f283-48b6-a11d-5b6afdf240ea" targetNamespace="http://schemas.microsoft.com/office/2006/metadata/properties" ma:root="true" ma:fieldsID="fedf67c3f5412d1b64b693c95ba1e2b1" ns2:_="" ns3:_="" ns4:_="">
    <xsd:import namespace="bbc1b1f8-0e71-4cbd-b262-3052aba238a9"/>
    <xsd:import namespace="fd3bd635-9bff-483f-aa30-f8bfae0bbf17"/>
    <xsd:import namespace="87e7f7ab-f283-48b6-a11d-5b6afdf240e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OCR" minOccurs="0"/>
                <xsd:element ref="ns2:MediaLengthInSeconds" minOccurs="0"/>
                <xsd:element ref="ns2:BusinessDirectoryType" minOccurs="0"/>
                <xsd:element ref="ns2:DateSent" minOccurs="0"/>
                <xsd:element ref="ns2:lcf76f155ced4ddcb4097134ff3c332f" minOccurs="0"/>
                <xsd:element ref="ns4:TaxCatchAll" minOccurs="0"/>
                <xsd:element ref="ns2:MediaServiceObjectDetectorVersions" minOccurs="0"/>
                <xsd:element ref="ns2:MediaServiceSearchPropertie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c1b1f8-0e71-4cbd-b262-3052aba238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BusinessDirectoryType" ma:index="20" nillable="true" ma:displayName="Business Directory Type" ma:format="Dropdown" ma:internalName="BusinessDirectoryType">
      <xsd:simpleType>
        <xsd:restriction base="dms:Choice">
          <xsd:enumeration value="General Contracts"/>
          <xsd:enumeration value="ACDBE"/>
          <xsd:enumeration value="Both"/>
        </xsd:restriction>
      </xsd:simpleType>
    </xsd:element>
    <xsd:element name="DateSent" ma:index="21" nillable="true" ma:displayName="Date Sent" ma:format="DateOnly" ma:internalName="DateSent">
      <xsd:simpleType>
        <xsd:restriction base="dms:DateTime"/>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38707e54-6713-4257-8868-1e4840a70eb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Location" ma:index="27" nillable="true" ma:displayName="Location" ma:indexed="true" ma:internalName="MediaServiceLocation" ma:readOnly="true">
      <xsd:simpleType>
        <xsd:restriction base="dms:Text"/>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d3bd635-9bff-483f-aa30-f8bfae0bbf17"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7e7f7ab-f283-48b6-a11d-5b6afdf240ea"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f78edeec-2c53-48c2-9d7f-9f98b72b39d4}" ma:internalName="TaxCatchAll" ma:showField="CatchAllData" ma:web="fd3bd635-9bff-483f-aa30-f8bfae0bbf1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2F2FE49-1C05-4EF5-9360-51D70AD37214}">
  <ds:schemaRefs>
    <ds:schemaRef ds:uri="87e7f7ab-f283-48b6-a11d-5b6afdf240ea"/>
    <ds:schemaRef ds:uri="bbc1b1f8-0e71-4cbd-b262-3052aba238a9"/>
    <ds:schemaRef ds:uri="fd3bd635-9bff-483f-aa30-f8bfae0bbf1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674DDDF-AB4D-446A-A19F-F62E53DF806A}">
  <ds:schemaRefs>
    <ds:schemaRef ds:uri="http://schemas.microsoft.com/sharepoint/v3/contenttype/forms"/>
  </ds:schemaRefs>
</ds:datastoreItem>
</file>

<file path=customXml/itemProps3.xml><?xml version="1.0" encoding="utf-8"?>
<ds:datastoreItem xmlns:ds="http://schemas.openxmlformats.org/officeDocument/2006/customXml" ds:itemID="{958AD259-C84E-4652-BFDA-AE578DC16E01}">
  <ds:schemaRefs>
    <ds:schemaRef ds:uri="87e7f7ab-f283-48b6-a11d-5b6afdf240ea"/>
    <ds:schemaRef ds:uri="bbc1b1f8-0e71-4cbd-b262-3052aba238a9"/>
    <ds:schemaRef ds:uri="fd3bd635-9bff-483f-aa30-f8bfae0bbf1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79c62162-b85e-4b0e-a863-ebe7817ad70d}" enabled="0" method="" siteId="{79c62162-b85e-4b0e-a863-ebe7817ad70d}" removed="1"/>
</clbl:labelList>
</file>

<file path=docProps/app.xml><?xml version="1.0" encoding="utf-8"?>
<Properties xmlns="http://schemas.openxmlformats.org/officeDocument/2006/extended-properties" xmlns:vt="http://schemas.openxmlformats.org/officeDocument/2006/docPropsVTypes">
  <TotalTime>13</TotalTime>
  <Words>5596</Words>
  <Application>Microsoft Office PowerPoint</Application>
  <PresentationFormat>Widescreen</PresentationFormat>
  <Paragraphs>580</Paragraphs>
  <Slides>56</Slides>
  <Notes>39</Notes>
  <HiddenSlides>0</HiddenSlides>
  <MMClips>0</MMClips>
  <ScaleCrop>false</ScaleCrop>
  <HeadingPairs>
    <vt:vector size="8" baseType="variant">
      <vt:variant>
        <vt:lpstr>Fonts Used</vt:lpstr>
      </vt:variant>
      <vt:variant>
        <vt:i4>15</vt:i4>
      </vt:variant>
      <vt:variant>
        <vt:lpstr>Theme</vt:lpstr>
      </vt:variant>
      <vt:variant>
        <vt:i4>8</vt:i4>
      </vt:variant>
      <vt:variant>
        <vt:lpstr>Embedded OLE Servers</vt:lpstr>
      </vt:variant>
      <vt:variant>
        <vt:i4>1</vt:i4>
      </vt:variant>
      <vt:variant>
        <vt:lpstr>Slide Titles</vt:lpstr>
      </vt:variant>
      <vt:variant>
        <vt:i4>56</vt:i4>
      </vt:variant>
    </vt:vector>
  </HeadingPairs>
  <TitlesOfParts>
    <vt:vector size="80" baseType="lpstr">
      <vt:lpstr>Aptos</vt:lpstr>
      <vt:lpstr>Arial</vt:lpstr>
      <vt:lpstr>Arial,Sans-Serif</vt:lpstr>
      <vt:lpstr>Calibri</vt:lpstr>
      <vt:lpstr>Calibri Light</vt:lpstr>
      <vt:lpstr>Canva Sans Bold</vt:lpstr>
      <vt:lpstr>Courier New</vt:lpstr>
      <vt:lpstr>Franklin Gothic Book</vt:lpstr>
      <vt:lpstr>Franklin Gothic Medium</vt:lpstr>
      <vt:lpstr>Inter</vt:lpstr>
      <vt:lpstr>Segoe UI</vt:lpstr>
      <vt:lpstr>Symbol</vt:lpstr>
      <vt:lpstr>System Font Regular</vt:lpstr>
      <vt:lpstr>Wingdings</vt:lpstr>
      <vt:lpstr>Wingdings,Sans-Serif</vt:lpstr>
      <vt:lpstr>Title 1</vt:lpstr>
      <vt:lpstr>Title 3</vt:lpstr>
      <vt:lpstr>Content 2 - ORANGE</vt:lpstr>
      <vt:lpstr>Content 4 - ORANGE - Image WHITE logo</vt:lpstr>
      <vt:lpstr>Office Theme</vt:lpstr>
      <vt:lpstr>1_Title 1</vt:lpstr>
      <vt:lpstr>1_Office Theme</vt:lpstr>
      <vt:lpstr>United Digital: Core Light</vt:lpstr>
      <vt:lpstr>think-cell Slide</vt:lpstr>
      <vt:lpstr>Taking Flight at DEN</vt:lpstr>
      <vt:lpstr>Agenda</vt:lpstr>
      <vt:lpstr>Housekeeping</vt:lpstr>
      <vt:lpstr>Project Interest Form</vt:lpstr>
      <vt:lpstr>Click to edit Master title style</vt:lpstr>
      <vt:lpstr>Taking Flight at DEN </vt:lpstr>
      <vt:lpstr>Meet the Primes</vt:lpstr>
      <vt:lpstr>Navigating the ACDBE Series: Pathways to Concessions</vt:lpstr>
      <vt:lpstr>Small Business Certification Workshops</vt:lpstr>
      <vt:lpstr>Missed the IFR Submission Date?</vt:lpstr>
      <vt:lpstr>Registration Now Open!  DEN Procurement Tradeshow  August 20, 2026  Hotel Transit Center – 4th Floor / CEEA Space </vt:lpstr>
      <vt:lpstr>Community Panelist Program </vt:lpstr>
      <vt:lpstr>Stay Informed</vt:lpstr>
      <vt:lpstr>Citywide Mentor-Protégé Program </vt:lpstr>
      <vt:lpstr>Legal Disclaimer​</vt:lpstr>
      <vt:lpstr>Upcoming Opportunities – Updated Webpage</vt:lpstr>
      <vt:lpstr>Common Use Passenger Processing System (CUPPS)  </vt:lpstr>
      <vt:lpstr>Common Use Passenger Processing System (CUPPS)   </vt:lpstr>
      <vt:lpstr>CEEA On-Call Workforce Development  </vt:lpstr>
      <vt:lpstr>CEEA On-Call Workforce Development   </vt:lpstr>
      <vt:lpstr>2027-29 DEN Summer Concert Series  </vt:lpstr>
      <vt:lpstr>2027-29 DEN Summer Concert Series</vt:lpstr>
      <vt:lpstr>Infrastructure Financing and Master Development Partners for Commercial Development Districts   </vt:lpstr>
      <vt:lpstr>Infrastructure Financing and Master Development Partners for Commercial Development Districts    </vt:lpstr>
      <vt:lpstr>Infrastructure Financing and Master Development Partners for Commercial Development Districts Cont.    </vt:lpstr>
      <vt:lpstr>Clean Technology Campus Market Study  </vt:lpstr>
      <vt:lpstr>Clean Technology Campus Market Study  </vt:lpstr>
      <vt:lpstr>Total Queue Management (TQM)  </vt:lpstr>
      <vt:lpstr>Total Queue Management (TQM)</vt:lpstr>
      <vt:lpstr>2026 On-Call Utility Condition Assessment   </vt:lpstr>
      <vt:lpstr>2026 On-Call Utility Condition Assessment </vt:lpstr>
      <vt:lpstr>DEN Security Services - Regulatory Services  </vt:lpstr>
      <vt:lpstr>DEN Security Services - Regulatory Services</vt:lpstr>
      <vt:lpstr>Enterprise Analytics &amp; Measurement Services  </vt:lpstr>
      <vt:lpstr>Enterprise Analytics &amp; Measurement Services</vt:lpstr>
      <vt:lpstr>DEN Learning Management System  </vt:lpstr>
      <vt:lpstr>DEN Learning Management System Implementation, Integration, and Ongoing Support Services for FAA Part 139 Training </vt:lpstr>
      <vt:lpstr>Multiple Maintenance Opportunities  </vt:lpstr>
      <vt:lpstr>DEN Security Gates Emergency Repair Services</vt:lpstr>
      <vt:lpstr>HVAC Coil Cleaning, Air Filter Replacement, and Preventative Maintenance</vt:lpstr>
      <vt:lpstr>On-Call Electrical Services</vt:lpstr>
      <vt:lpstr>United Airlines  </vt:lpstr>
      <vt:lpstr>Pedestrian Access Transit Hall Program: In-Development</vt:lpstr>
      <vt:lpstr>DEN Procurement   </vt:lpstr>
      <vt:lpstr>DEN Procurement  </vt:lpstr>
      <vt:lpstr>DEN Procurement – Contract Lifecycle</vt:lpstr>
      <vt:lpstr>Small Business Concessions Programs (ACDBE/SBEC) Airport Access &amp; Business Opportunity  </vt:lpstr>
      <vt:lpstr>DEN'S Federal Small Business Programs are PAUSED...</vt:lpstr>
      <vt:lpstr>...but Small Business Opportunities are NOT!</vt:lpstr>
      <vt:lpstr>Division of Small Business Opportunity </vt:lpstr>
      <vt:lpstr>Division of Small Business Opportunity (DSBO)</vt:lpstr>
      <vt:lpstr>General Services- Purchasing Division </vt:lpstr>
      <vt:lpstr>General Services- Purchasing Division</vt:lpstr>
      <vt:lpstr>Workforce Development </vt:lpstr>
      <vt:lpstr>Denver Construction Careers Program (DCCP) Overview </vt:lpstr>
      <vt:lpstr>Event Follow Up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cker, Lauren - DEN</dc:creator>
  <cp:lastModifiedBy>Rodriguez, Nicole - DEN</cp:lastModifiedBy>
  <cp:revision>1</cp:revision>
  <cp:lastPrinted>2026-01-05T23:17:33Z</cp:lastPrinted>
  <dcterms:created xsi:type="dcterms:W3CDTF">2024-03-24T01:57:37Z</dcterms:created>
  <dcterms:modified xsi:type="dcterms:W3CDTF">2026-06-17T16:5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B4CBFD58AEB54B9523C229AC8968F6</vt:lpwstr>
  </property>
  <property fmtid="{D5CDD505-2E9C-101B-9397-08002B2CF9AE}" pid="3" name="MediaServiceImageTags">
    <vt:lpwstr/>
  </property>
</Properties>
</file>